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89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  <p:sldMasterId id="2147483675" r:id="rId2"/>
    <p:sldMasterId id="2147483708" r:id="rId3"/>
    <p:sldMasterId id="2147483740" r:id="rId4"/>
    <p:sldMasterId id="2147483816" r:id="rId5"/>
    <p:sldMasterId id="2147483873" r:id="rId6"/>
    <p:sldMasterId id="2147483895" r:id="rId7"/>
    <p:sldMasterId id="2147483913" r:id="rId8"/>
  </p:sldMasterIdLst>
  <p:notesMasterIdLst>
    <p:notesMasterId r:id="rId10"/>
  </p:notesMasterIdLst>
  <p:handoutMasterIdLst>
    <p:handoutMasterId r:id="rId11"/>
  </p:handoutMasterIdLst>
  <p:sldIdLst>
    <p:sldId id="2076136968" r:id="rId9"/>
  </p:sldIdLst>
  <p:sldSz cx="12192000" cy="6858000"/>
  <p:notesSz cx="6858000" cy="9144000"/>
  <p:embeddedFontLst>
    <p:embeddedFont>
      <p:font typeface="Calibri" panose="020F0502020204030204" pitchFamily="34" charset="0"/>
      <p:regular r:id="rId12"/>
      <p:bold r:id="rId13"/>
      <p:italic r:id="rId14"/>
      <p:boldItalic r:id="rId15"/>
    </p:embeddedFont>
    <p:embeddedFont>
      <p:font typeface="tahoma bold" panose="020B0804030504040204" pitchFamily="34" charset="0"/>
      <p:bold r:id="rId16"/>
    </p:embeddedFont>
    <p:embeddedFont>
      <p:font typeface="Trebuchet MS" panose="020B0603020202020204" pitchFamily="34" charset="0"/>
      <p:regular r:id="rId17"/>
      <p:bold r:id="rId18"/>
      <p:italic r:id="rId19"/>
      <p:boldItalic r:id="rId20"/>
    </p:embeddedFont>
  </p:embeddedFontLst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har Dolev-Blitental" initials="SDB" lastIdx="1" clrIdx="0">
    <p:extLst>
      <p:ext uri="{19B8F6BF-5375-455C-9EA6-DF929625EA0E}">
        <p15:presenceInfo xmlns:p15="http://schemas.microsoft.com/office/powerpoint/2012/main" userId="S::sahard@iguazio.com::17120ad5-802b-488e-b9de-729c51770f3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87FBD"/>
    <a:srgbClr val="701E7D"/>
    <a:srgbClr val="0FDDAF"/>
    <a:srgbClr val="017AD8"/>
    <a:srgbClr val="6BF5D7"/>
    <a:srgbClr val="E2E8FE"/>
    <a:srgbClr val="D1F3FF"/>
    <a:srgbClr val="000000"/>
    <a:srgbClr val="E3FDF7"/>
    <a:srgbClr val="D4FC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944" autoAdjust="0"/>
    <p:restoredTop sz="94660"/>
  </p:normalViewPr>
  <p:slideViewPr>
    <p:cSldViewPr snapToGrid="0">
      <p:cViewPr varScale="1">
        <p:scale>
          <a:sx n="154" d="100"/>
          <a:sy n="154" d="100"/>
        </p:scale>
        <p:origin x="112" y="32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7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5.fntdata"/><Relationship Id="rId20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handoutMaster" Target="handoutMasters/handoutMaster1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font" Target="fonts/font4.fntdata"/><Relationship Id="rId23" Type="http://schemas.openxmlformats.org/officeDocument/2006/relationships/presProps" Target="presProps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8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font" Target="fonts/font3.fntdata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A6B99-21C1-45F0-8248-CA3C07EF064A}" type="datetimeFigureOut">
              <a:rPr lang="en-US" smtClean="0"/>
              <a:t>12/20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7F7862-40B5-41A6-8014-85051CABA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5490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2A70B0-2A73-47BC-8722-A257455296BA}" type="datetimeFigureOut">
              <a:rPr lang="en-US" smtClean="0"/>
              <a:t>12/2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1BA0DB-7D03-4E6D-B7DC-E22F906762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8318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3.emf"/><Relationship Id="rId4" Type="http://schemas.openxmlformats.org/officeDocument/2006/relationships/image" Target="../media/image21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3.emf"/><Relationship Id="rId4" Type="http://schemas.openxmlformats.org/officeDocument/2006/relationships/image" Target="../media/image31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3.emf"/><Relationship Id="rId4" Type="http://schemas.openxmlformats.org/officeDocument/2006/relationships/image" Target="../media/image31.pn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6.png"/><Relationship Id="rId7" Type="http://schemas.openxmlformats.org/officeDocument/2006/relationships/image" Target="../media/image5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7.pn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1.pn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9.pn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5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9.emf"/><Relationship Id="rId4" Type="http://schemas.openxmlformats.org/officeDocument/2006/relationships/image" Target="../media/image28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emf"/><Relationship Id="rId4" Type="http://schemas.openxmlformats.org/officeDocument/2006/relationships/image" Target="../media/image36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9.emf"/><Relationship Id="rId4" Type="http://schemas.openxmlformats.org/officeDocument/2006/relationships/image" Target="../media/image28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emf"/><Relationship Id="rId4" Type="http://schemas.openxmlformats.org/officeDocument/2006/relationships/image" Target="../media/image21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emf"/><Relationship Id="rId4" Type="http://schemas.openxmlformats.org/officeDocument/2006/relationships/image" Target="../media/image21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emf"/><Relationship Id="rId4" Type="http://schemas.openxmlformats.org/officeDocument/2006/relationships/image" Target="../media/image2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emf"/><Relationship Id="rId4" Type="http://schemas.openxmlformats.org/officeDocument/2006/relationships/image" Target="../media/image3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emf"/><Relationship Id="rId4" Type="http://schemas.openxmlformats.org/officeDocument/2006/relationships/image" Target="../media/image31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4.png"/><Relationship Id="rId5" Type="http://schemas.openxmlformats.org/officeDocument/2006/relationships/image" Target="../media/image32.png"/><Relationship Id="rId4" Type="http://schemas.openxmlformats.org/officeDocument/2006/relationships/image" Target="../media/image43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.emf"/><Relationship Id="rId4" Type="http://schemas.openxmlformats.org/officeDocument/2006/relationships/image" Target="../media/image46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9.emf"/><Relationship Id="rId4" Type="http://schemas.openxmlformats.org/officeDocument/2006/relationships/image" Target="../media/image4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1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.emf"/><Relationship Id="rId4" Type="http://schemas.openxmlformats.org/officeDocument/2006/relationships/image" Target="../media/image51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.emf"/><Relationship Id="rId4" Type="http://schemas.openxmlformats.org/officeDocument/2006/relationships/image" Target="../media/image51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.emf"/><Relationship Id="rId4" Type="http://schemas.openxmlformats.org/officeDocument/2006/relationships/image" Target="../media/image51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.emf"/><Relationship Id="rId4" Type="http://schemas.openxmlformats.org/officeDocument/2006/relationships/image" Target="../media/image43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.emf"/><Relationship Id="rId4" Type="http://schemas.openxmlformats.org/officeDocument/2006/relationships/image" Target="../media/image43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.emf"/><Relationship Id="rId4" Type="http://schemas.openxmlformats.org/officeDocument/2006/relationships/image" Target="../media/image36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9.emf"/><Relationship Id="rId4" Type="http://schemas.openxmlformats.org/officeDocument/2006/relationships/image" Target="../media/image28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1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.emf"/><Relationship Id="rId4" Type="http://schemas.openxmlformats.org/officeDocument/2006/relationships/image" Target="../media/image21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.emf"/><Relationship Id="rId4" Type="http://schemas.openxmlformats.org/officeDocument/2006/relationships/image" Target="../media/image21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.emf"/><Relationship Id="rId4" Type="http://schemas.openxmlformats.org/officeDocument/2006/relationships/image" Target="../media/image21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.emf"/><Relationship Id="rId4" Type="http://schemas.openxmlformats.org/officeDocument/2006/relationships/image" Target="../media/image31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.emf"/><Relationship Id="rId4" Type="http://schemas.openxmlformats.org/officeDocument/2006/relationships/image" Target="../media/image31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4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5.pn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9.emf"/><Relationship Id="rId4" Type="http://schemas.openxmlformats.org/officeDocument/2006/relationships/image" Target="../media/image28.png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3.emf"/><Relationship Id="rId4" Type="http://schemas.openxmlformats.org/officeDocument/2006/relationships/image" Target="../media/image36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9.emf"/><Relationship Id="rId4" Type="http://schemas.openxmlformats.org/officeDocument/2006/relationships/image" Target="../media/image28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1.pn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3.emf"/><Relationship Id="rId4" Type="http://schemas.openxmlformats.org/officeDocument/2006/relationships/image" Target="../media/image21.pn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3.emf"/><Relationship Id="rId4" Type="http://schemas.openxmlformats.org/officeDocument/2006/relationships/image" Target="../media/image2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6686550" cy="2800807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786489"/>
            <a:ext cx="6686550" cy="130316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838201" y="4635568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07289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2045" y="1847233"/>
            <a:ext cx="498334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2045" y="2754489"/>
            <a:ext cx="4981755" cy="343517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096000" y="2055814"/>
            <a:ext cx="0" cy="4128115"/>
          </a:xfrm>
          <a:prstGeom prst="line">
            <a:avLst/>
          </a:prstGeom>
          <a:ln w="317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36613" y="1857376"/>
            <a:ext cx="498334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4"/>
          </p:nvPr>
        </p:nvSpPr>
        <p:spPr>
          <a:xfrm>
            <a:off x="836613" y="2764631"/>
            <a:ext cx="4981755" cy="343517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973618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_3 Lay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883648">
            <a:off x="11140122" y="3092136"/>
            <a:ext cx="601110" cy="62711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09" y="5182111"/>
            <a:ext cx="867167" cy="803716"/>
          </a:xfrm>
          <a:prstGeom prst="rect">
            <a:avLst/>
          </a:prstGeom>
        </p:spPr>
      </p:pic>
      <p:sp>
        <p:nvSpPr>
          <p:cNvPr id="19" name="Rounded Rectangle 18"/>
          <p:cNvSpPr/>
          <p:nvPr userDrawn="1"/>
        </p:nvSpPr>
        <p:spPr>
          <a:xfrm>
            <a:off x="838201" y="1943820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rgbClr val="7793FF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6" name="Rounded Rectangle 25"/>
          <p:cNvSpPr/>
          <p:nvPr userDrawn="1"/>
        </p:nvSpPr>
        <p:spPr>
          <a:xfrm>
            <a:off x="7993813" y="1943820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chemeClr val="accent3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7" name="Rounded Rectangle 26"/>
          <p:cNvSpPr/>
          <p:nvPr userDrawn="1"/>
        </p:nvSpPr>
        <p:spPr>
          <a:xfrm>
            <a:off x="4416007" y="1943820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chemeClr val="accent2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8" name="Content Placeholder 2"/>
          <p:cNvSpPr>
            <a:spLocks noGrp="1"/>
          </p:cNvSpPr>
          <p:nvPr>
            <p:ph idx="1"/>
          </p:nvPr>
        </p:nvSpPr>
        <p:spPr>
          <a:xfrm>
            <a:off x="1106804" y="2183570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2"/>
          </p:nvPr>
        </p:nvSpPr>
        <p:spPr>
          <a:xfrm>
            <a:off x="4668216" y="2183570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13"/>
          </p:nvPr>
        </p:nvSpPr>
        <p:spPr>
          <a:xfrm>
            <a:off x="8246022" y="2181858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1" y="6518025"/>
            <a:ext cx="929301" cy="201883"/>
          </a:xfrm>
          <a:prstGeom prst="rect">
            <a:avLst/>
          </a:prstGeom>
        </p:spPr>
      </p:pic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148099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017266">
            <a:off x="702937" y="5000473"/>
            <a:ext cx="698888" cy="72912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Rounded Rectangle 11"/>
          <p:cNvSpPr/>
          <p:nvPr userDrawn="1"/>
        </p:nvSpPr>
        <p:spPr>
          <a:xfrm>
            <a:off x="1215038" y="575096"/>
            <a:ext cx="9734759" cy="5643163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>
            <a:noFill/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5654" y="1063353"/>
            <a:ext cx="758570" cy="703065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1" y="6518025"/>
            <a:ext cx="929301" cy="201883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2"/>
          </p:nvPr>
        </p:nvSpPr>
        <p:spPr>
          <a:xfrm>
            <a:off x="1633268" y="926277"/>
            <a:ext cx="8902460" cy="492430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772432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017266">
            <a:off x="702937" y="5000473"/>
            <a:ext cx="698888" cy="72912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Rounded Rectangle 11"/>
          <p:cNvSpPr/>
          <p:nvPr userDrawn="1"/>
        </p:nvSpPr>
        <p:spPr>
          <a:xfrm>
            <a:off x="1215038" y="1369620"/>
            <a:ext cx="9734759" cy="4848637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>
            <a:noFill/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5654" y="1063353"/>
            <a:ext cx="758570" cy="703065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1" y="6518025"/>
            <a:ext cx="929301" cy="201883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667024" y="1231526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866401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1633268" y="1836934"/>
            <a:ext cx="8902460" cy="401364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662558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89151" y="6518025"/>
            <a:ext cx="929301" cy="201883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78737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89151" y="6518320"/>
            <a:ext cx="927477" cy="2014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33217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2348ABE-23F8-C647-A81A-4288121AC116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 bwMode="gray">
          <a:xfrm>
            <a:off x="375002" y="816432"/>
            <a:ext cx="11442124" cy="630936"/>
          </a:xfrm>
        </p:spPr>
        <p:txBody>
          <a:bodyPr lIns="91521" tIns="45761" rIns="91521" bIns="45761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457631" indent="0">
              <a:buNone/>
              <a:defRPr sz="2000" b="1"/>
            </a:lvl2pPr>
            <a:lvl3pPr marL="915262" indent="0">
              <a:buNone/>
              <a:defRPr sz="1900" b="1"/>
            </a:lvl3pPr>
            <a:lvl4pPr marL="1372891" indent="0">
              <a:buNone/>
              <a:defRPr sz="1600" b="1"/>
            </a:lvl4pPr>
            <a:lvl5pPr marL="1830522" indent="0">
              <a:buNone/>
              <a:defRPr sz="1600" b="1"/>
            </a:lvl5pPr>
            <a:lvl6pPr marL="2288152" indent="0">
              <a:buNone/>
              <a:defRPr sz="1600" b="1"/>
            </a:lvl6pPr>
            <a:lvl7pPr marL="2745783" indent="0">
              <a:buNone/>
              <a:defRPr sz="1600" b="1"/>
            </a:lvl7pPr>
            <a:lvl8pPr marL="3203413" indent="0">
              <a:buNone/>
              <a:defRPr sz="1600" b="1"/>
            </a:lvl8pPr>
            <a:lvl9pPr marL="3661044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EFE584E5-8FA2-5C41-B095-C1A05A119B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5002" y="527736"/>
            <a:ext cx="11442124" cy="329184"/>
          </a:xfrm>
        </p:spPr>
        <p:txBody>
          <a:bodyPr wrap="square" lIns="91440">
            <a:noAutofit/>
          </a:bodyPr>
          <a:lstStyle>
            <a:lvl1pPr>
              <a:defRPr sz="2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2C54B14-D614-6E41-B1B6-45A42BEA2E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7199" y="6547104"/>
            <a:ext cx="4537384" cy="11887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tx1"/>
                </a:solidFill>
              </a:defRPr>
            </a:lvl1pPr>
          </a:lstStyle>
          <a:p>
            <a:r>
              <a:rPr lang="en-US"/>
              <a:t>NetApp INSIGHT © 2020 NetApp, Inc. All rights reserved. NetApp Confidential – Limited Use Only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12E9188-9758-9441-99AA-C3D148185A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5614" y="6547104"/>
            <a:ext cx="331994" cy="11887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lang="en-US" sz="800" b="0" smtClean="0">
                <a:solidFill>
                  <a:schemeClr val="tx1"/>
                </a:solidFill>
              </a:defRPr>
            </a:lvl1pPr>
          </a:lstStyle>
          <a:p>
            <a:fld id="{B071A5F3-A4FF-4CEE-8215-C08835B585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337613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6686550" cy="2800807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786489"/>
            <a:ext cx="6686550" cy="130316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838201" y="4635568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555437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71" y="1709739"/>
            <a:ext cx="6686550" cy="2718209"/>
          </a:xfrm>
        </p:spPr>
        <p:txBody>
          <a:bodyPr anchor="b">
            <a:normAutofit/>
          </a:bodyPr>
          <a:lstStyle>
            <a:lvl1pPr algn="ctr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7171" y="4786489"/>
            <a:ext cx="6686550" cy="13031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791201" y="4624066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81325" y="845030"/>
            <a:ext cx="1211963" cy="119601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2224" y="980450"/>
            <a:ext cx="2205519" cy="204413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66" y="3191319"/>
            <a:ext cx="2204166" cy="229953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2428" y="3742496"/>
            <a:ext cx="737929" cy="79728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9937" y="0"/>
            <a:ext cx="1302528" cy="87941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502" y="183165"/>
            <a:ext cx="531609" cy="79728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063"/>
          <a:stretch/>
        </p:blipFill>
        <p:spPr>
          <a:xfrm>
            <a:off x="9334680" y="5411490"/>
            <a:ext cx="600973" cy="627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9646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3345" y="4904015"/>
            <a:ext cx="1603783" cy="94877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1017266">
            <a:off x="662136" y="4070876"/>
            <a:ext cx="1105342" cy="1153169"/>
          </a:xfrm>
          <a:prstGeom prst="rect">
            <a:avLst/>
          </a:prstGeom>
        </p:spPr>
      </p:pic>
      <p:sp>
        <p:nvSpPr>
          <p:cNvPr id="4" name="Rounded Rectangle 3"/>
          <p:cNvSpPr/>
          <p:nvPr userDrawn="1"/>
        </p:nvSpPr>
        <p:spPr>
          <a:xfrm>
            <a:off x="1524000" y="1122364"/>
            <a:ext cx="9144000" cy="4135437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>
            <a:noFill/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1163" y="1505529"/>
            <a:ext cx="8368147" cy="2826327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50000"/>
              </a:lnSpc>
              <a:buNone/>
              <a:defRPr sz="20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“Click to edit Master subtitle style”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ubtitle 2"/>
          <p:cNvSpPr txBox="1">
            <a:spLocks/>
          </p:cNvSpPr>
          <p:nvPr userDrawn="1"/>
        </p:nvSpPr>
        <p:spPr>
          <a:xfrm>
            <a:off x="1921163" y="4546624"/>
            <a:ext cx="8368147" cy="496407"/>
          </a:xfrm>
          <a:prstGeom prst="rect">
            <a:avLst/>
          </a:prstGeom>
        </p:spPr>
        <p:txBody>
          <a:bodyPr vert="horz" lIns="60960" tIns="30480" rIns="60960" bIns="30480" rtlCol="0" anchor="ctr">
            <a:normAutofit/>
          </a:bodyPr>
          <a:lstStyle>
            <a:lvl1pPr marL="0" indent="0" algn="ctr" defTabSz="1371600" rtl="0" eaLnBrk="1" latinLnBrk="0" hangingPunct="1">
              <a:lnSpc>
                <a:spcPct val="150000"/>
              </a:lnSpc>
              <a:spcBef>
                <a:spcPts val="1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Name </a:t>
            </a:r>
            <a:r>
              <a:rPr lang="en-US" sz="1600" b="1" dirty="0" err="1"/>
              <a:t>Namerson</a:t>
            </a:r>
            <a:r>
              <a:rPr lang="en-US" sz="1600" b="1" dirty="0"/>
              <a:t>,</a:t>
            </a:r>
            <a:r>
              <a:rPr lang="en-US" sz="1600" b="1" baseline="0" dirty="0"/>
              <a:t> </a:t>
            </a:r>
            <a:r>
              <a:rPr lang="en-US" sz="1600" b="1" dirty="0"/>
              <a:t>Company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667023" y="4452457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81882" y="852586"/>
            <a:ext cx="1408981" cy="1305885"/>
          </a:xfrm>
          <a:prstGeom prst="rect">
            <a:avLst/>
          </a:prstGeom>
        </p:spPr>
      </p:pic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650009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Mai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8457" y="1085626"/>
            <a:ext cx="1447800" cy="14287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38201" y="1690689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838200" y="1909313"/>
            <a:ext cx="10515600" cy="4267651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000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7509065">
            <a:off x="178076" y="5642045"/>
            <a:ext cx="830673" cy="86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4026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2055814"/>
            <a:ext cx="4981755" cy="41211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96000" y="2055814"/>
            <a:ext cx="0" cy="4128115"/>
          </a:xfrm>
          <a:prstGeom prst="line">
            <a:avLst/>
          </a:prstGeom>
          <a:ln w="317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/>
          <p:cNvSpPr>
            <a:spLocks noGrp="1"/>
          </p:cNvSpPr>
          <p:nvPr>
            <p:ph sz="half" idx="12"/>
          </p:nvPr>
        </p:nvSpPr>
        <p:spPr>
          <a:xfrm>
            <a:off x="6372045" y="2055814"/>
            <a:ext cx="4981755" cy="41211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626246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p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5945" y="1085626"/>
            <a:ext cx="1447800" cy="14287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38201" y="1690689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7509065">
            <a:off x="178076" y="5642045"/>
            <a:ext cx="830673" cy="866616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096000" y="1909314"/>
            <a:ext cx="0" cy="4274615"/>
          </a:xfrm>
          <a:prstGeom prst="line">
            <a:avLst/>
          </a:prstGeom>
          <a:ln w="317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838200" y="1909313"/>
            <a:ext cx="4981755" cy="4267651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000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6372045" y="1916278"/>
            <a:ext cx="4981755" cy="4267651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000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437598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055815"/>
            <a:ext cx="10515600" cy="4121149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400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58707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2045" y="1847233"/>
            <a:ext cx="498334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2045" y="2754489"/>
            <a:ext cx="4981755" cy="343517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096000" y="2055814"/>
            <a:ext cx="0" cy="4128115"/>
          </a:xfrm>
          <a:prstGeom prst="line">
            <a:avLst/>
          </a:prstGeom>
          <a:ln w="317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36613" y="1857376"/>
            <a:ext cx="498334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4"/>
          </p:nvPr>
        </p:nvSpPr>
        <p:spPr>
          <a:xfrm>
            <a:off x="836613" y="2764631"/>
            <a:ext cx="4981755" cy="343517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0777345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2055814"/>
            <a:ext cx="4981755" cy="41211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96000" y="2055814"/>
            <a:ext cx="0" cy="4128115"/>
          </a:xfrm>
          <a:prstGeom prst="line">
            <a:avLst/>
          </a:prstGeom>
          <a:ln w="317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/>
          <p:cNvSpPr>
            <a:spLocks noGrp="1"/>
          </p:cNvSpPr>
          <p:nvPr>
            <p:ph sz="half" idx="12"/>
          </p:nvPr>
        </p:nvSpPr>
        <p:spPr>
          <a:xfrm>
            <a:off x="6372045" y="2055814"/>
            <a:ext cx="4981755" cy="41211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997203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CF06033-3245-6B46-87CB-60312B0ED0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9741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BD9A4BE-1F98-4342-9015-76CA563E5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85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FBA05F3-B304-5449-89D6-A3350ECDCE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03756"/>
            <a:ext cx="10515600" cy="4473210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400"/>
            </a:lvl1pPr>
            <a:lvl2pPr marL="457246" indent="0">
              <a:buNone/>
              <a:defRPr/>
            </a:lvl2pPr>
            <a:lvl3pPr marL="914492" indent="0">
              <a:buNone/>
              <a:defRPr/>
            </a:lvl3pPr>
            <a:lvl4pPr marL="1371738" indent="0">
              <a:buNone/>
              <a:defRPr/>
            </a:lvl4pPr>
            <a:lvl5pPr marL="1828983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D3949367-2CD2-6D4F-9BE0-10240E4FCF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0581008-E391-244F-9FDE-A7DAE63553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811D882-AB11-9148-876F-30D3B4AABA4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01250" y="6067426"/>
            <a:ext cx="2190750" cy="79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0881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CF06033-3245-6B46-87CB-60312B0ED0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BD9A4BE-1F98-4342-9015-76CA563E5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85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FBA05F3-B304-5449-89D6-A3350ECDCE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03756"/>
            <a:ext cx="10515600" cy="4473210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400"/>
            </a:lvl1pPr>
            <a:lvl2pPr marL="457246" indent="0">
              <a:buNone/>
              <a:defRPr/>
            </a:lvl2pPr>
            <a:lvl3pPr marL="914492" indent="0">
              <a:buNone/>
              <a:defRPr/>
            </a:lvl3pPr>
            <a:lvl4pPr marL="1371738" indent="0">
              <a:buNone/>
              <a:defRPr/>
            </a:lvl4pPr>
            <a:lvl5pPr marL="1828983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D3949367-2CD2-6D4F-9BE0-10240E4FCF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0581008-E391-244F-9FDE-A7DAE63553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811D882-AB11-9148-876F-30D3B4AABA4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01250" y="6067426"/>
            <a:ext cx="2190750" cy="79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25516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1017266">
            <a:off x="616606" y="3775220"/>
            <a:ext cx="1011193" cy="1054946"/>
          </a:xfrm>
          <a:prstGeom prst="rect">
            <a:avLst/>
          </a:prstGeom>
        </p:spPr>
      </p:pic>
      <p:sp>
        <p:nvSpPr>
          <p:cNvPr id="4" name="Rounded Rectangle 3"/>
          <p:cNvSpPr/>
          <p:nvPr userDrawn="1"/>
        </p:nvSpPr>
        <p:spPr>
          <a:xfrm>
            <a:off x="1405627" y="2279737"/>
            <a:ext cx="2682240" cy="268224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667023" y="1681546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928" y="1174639"/>
            <a:ext cx="1408981" cy="1305885"/>
          </a:xfrm>
          <a:prstGeom prst="rect">
            <a:avLst/>
          </a:prstGeom>
        </p:spPr>
      </p:pic>
      <p:sp>
        <p:nvSpPr>
          <p:cNvPr id="14" name="Rounded Rectangle 13"/>
          <p:cNvSpPr/>
          <p:nvPr userDrawn="1"/>
        </p:nvSpPr>
        <p:spPr>
          <a:xfrm>
            <a:off x="4754880" y="2276832"/>
            <a:ext cx="2682240" cy="268224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5" name="Rounded Rectangle 14"/>
          <p:cNvSpPr/>
          <p:nvPr userDrawn="1"/>
        </p:nvSpPr>
        <p:spPr>
          <a:xfrm>
            <a:off x="8101627" y="2276832"/>
            <a:ext cx="2682240" cy="268224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>
            <a:normAutofit/>
          </a:bodyPr>
          <a:lstStyle>
            <a:lvl1pPr algn="ctr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412935" y="5178456"/>
            <a:ext cx="2682875" cy="745138"/>
          </a:xfrm>
        </p:spPr>
        <p:txBody>
          <a:bodyPr>
            <a:normAutofit/>
          </a:bodyPr>
          <a:lstStyle>
            <a:lvl1pPr marL="0" indent="0" algn="ctr">
              <a:buNone/>
              <a:defRPr sz="1733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754245" y="5178456"/>
            <a:ext cx="2682875" cy="745138"/>
          </a:xfrm>
        </p:spPr>
        <p:txBody>
          <a:bodyPr>
            <a:normAutofit/>
          </a:bodyPr>
          <a:lstStyle>
            <a:lvl1pPr marL="0" indent="0" algn="ctr">
              <a:buNone/>
              <a:defRPr sz="1733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8153401" y="5185966"/>
            <a:ext cx="2682875" cy="745138"/>
          </a:xfrm>
        </p:spPr>
        <p:txBody>
          <a:bodyPr>
            <a:normAutofit/>
          </a:bodyPr>
          <a:lstStyle>
            <a:lvl1pPr marL="0" indent="0" algn="ctr">
              <a:buNone/>
              <a:defRPr sz="1733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449263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1017266">
            <a:off x="2306674" y="5156466"/>
            <a:ext cx="601110" cy="627119"/>
          </a:xfrm>
          <a:prstGeom prst="rect">
            <a:avLst/>
          </a:prstGeom>
        </p:spPr>
      </p:pic>
      <p:sp>
        <p:nvSpPr>
          <p:cNvPr id="4" name="Rounded Rectangle 3"/>
          <p:cNvSpPr/>
          <p:nvPr userDrawn="1"/>
        </p:nvSpPr>
        <p:spPr>
          <a:xfrm>
            <a:off x="2776976" y="2302312"/>
            <a:ext cx="1624463" cy="162446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667023" y="1681546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11025" y="2555679"/>
            <a:ext cx="867167" cy="803716"/>
          </a:xfrm>
          <a:prstGeom prst="rect">
            <a:avLst/>
          </a:prstGeom>
        </p:spPr>
      </p:pic>
      <p:sp>
        <p:nvSpPr>
          <p:cNvPr id="14" name="Rounded Rectangle 13"/>
          <p:cNvSpPr/>
          <p:nvPr userDrawn="1"/>
        </p:nvSpPr>
        <p:spPr>
          <a:xfrm>
            <a:off x="5283769" y="2276833"/>
            <a:ext cx="1624463" cy="162446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5" name="Rounded Rectangle 14"/>
          <p:cNvSpPr/>
          <p:nvPr userDrawn="1"/>
        </p:nvSpPr>
        <p:spPr>
          <a:xfrm>
            <a:off x="7790561" y="2276833"/>
            <a:ext cx="1624463" cy="162446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>
            <a:normAutofit/>
          </a:bodyPr>
          <a:lstStyle>
            <a:lvl1pPr algn="ctr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ounded Rectangle 11"/>
          <p:cNvSpPr/>
          <p:nvPr userDrawn="1"/>
        </p:nvSpPr>
        <p:spPr>
          <a:xfrm>
            <a:off x="2776976" y="4249865"/>
            <a:ext cx="1624463" cy="162446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7" name="Rounded Rectangle 16"/>
          <p:cNvSpPr/>
          <p:nvPr userDrawn="1"/>
        </p:nvSpPr>
        <p:spPr>
          <a:xfrm>
            <a:off x="5283769" y="4224386"/>
            <a:ext cx="1624463" cy="162446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8" name="Rounded Rectangle 17"/>
          <p:cNvSpPr/>
          <p:nvPr userDrawn="1"/>
        </p:nvSpPr>
        <p:spPr>
          <a:xfrm>
            <a:off x="7790561" y="4224386"/>
            <a:ext cx="1624463" cy="162446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852483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4664450">
            <a:off x="2288177" y="4550575"/>
            <a:ext cx="748321" cy="69356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023"/>
          <a:stretch/>
        </p:blipFill>
        <p:spPr>
          <a:xfrm>
            <a:off x="419100" y="830264"/>
            <a:ext cx="11353800" cy="6001857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>
            <a:normAutofit/>
          </a:bodyPr>
          <a:lstStyle>
            <a:lvl1pPr algn="ctr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9824" y="2217792"/>
            <a:ext cx="838319" cy="810593"/>
          </a:xfrm>
          <a:prstGeom prst="rect">
            <a:avLst/>
          </a:prstGeom>
        </p:spPr>
      </p:pic>
      <p:sp>
        <p:nvSpPr>
          <p:cNvPr id="17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158857" y="2272637"/>
            <a:ext cx="5858623" cy="3294276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5667023" y="1681546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710382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4664450">
            <a:off x="245621" y="4550575"/>
            <a:ext cx="748321" cy="69356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023"/>
          <a:stretch/>
        </p:blipFill>
        <p:spPr>
          <a:xfrm>
            <a:off x="-1623456" y="830264"/>
            <a:ext cx="11353800" cy="6001857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16301" y="2272637"/>
            <a:ext cx="5858623" cy="3294276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7655626" y="1962061"/>
            <a:ext cx="3699762" cy="390692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1057" y="1757663"/>
            <a:ext cx="747175" cy="722463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838201" y="1690689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1624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017266">
            <a:off x="616606" y="3775220"/>
            <a:ext cx="1011193" cy="1054946"/>
          </a:xfrm>
          <a:prstGeom prst="rect">
            <a:avLst/>
          </a:prstGeom>
        </p:spPr>
      </p:pic>
      <p:sp>
        <p:nvSpPr>
          <p:cNvPr id="4" name="Rounded Rectangle 3"/>
          <p:cNvSpPr/>
          <p:nvPr userDrawn="1"/>
        </p:nvSpPr>
        <p:spPr>
          <a:xfrm>
            <a:off x="1405627" y="2279737"/>
            <a:ext cx="2682240" cy="268224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667023" y="1681546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7928" y="1174639"/>
            <a:ext cx="1408981" cy="1305885"/>
          </a:xfrm>
          <a:prstGeom prst="rect">
            <a:avLst/>
          </a:prstGeom>
        </p:spPr>
      </p:pic>
      <p:sp>
        <p:nvSpPr>
          <p:cNvPr id="14" name="Rounded Rectangle 13"/>
          <p:cNvSpPr/>
          <p:nvPr userDrawn="1"/>
        </p:nvSpPr>
        <p:spPr>
          <a:xfrm>
            <a:off x="4754880" y="2276832"/>
            <a:ext cx="2682240" cy="268224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5" name="Rounded Rectangle 14"/>
          <p:cNvSpPr/>
          <p:nvPr userDrawn="1"/>
        </p:nvSpPr>
        <p:spPr>
          <a:xfrm>
            <a:off x="8101627" y="2276832"/>
            <a:ext cx="2682240" cy="268224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>
            <a:normAutofit/>
          </a:bodyPr>
          <a:lstStyle>
            <a:lvl1pPr algn="ctr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412935" y="5178456"/>
            <a:ext cx="2682875" cy="745138"/>
          </a:xfrm>
        </p:spPr>
        <p:txBody>
          <a:bodyPr>
            <a:normAutofit/>
          </a:bodyPr>
          <a:lstStyle>
            <a:lvl1pPr marL="0" indent="0" algn="ctr">
              <a:buNone/>
              <a:defRPr sz="1733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754245" y="5178456"/>
            <a:ext cx="2682875" cy="745138"/>
          </a:xfrm>
        </p:spPr>
        <p:txBody>
          <a:bodyPr>
            <a:normAutofit/>
          </a:bodyPr>
          <a:lstStyle>
            <a:lvl1pPr marL="0" indent="0" algn="ctr">
              <a:buNone/>
              <a:defRPr sz="1733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8153401" y="5185966"/>
            <a:ext cx="2682875" cy="745138"/>
          </a:xfrm>
        </p:spPr>
        <p:txBody>
          <a:bodyPr>
            <a:normAutofit/>
          </a:bodyPr>
          <a:lstStyle>
            <a:lvl1pPr marL="0" indent="0" algn="ctr">
              <a:buNone/>
              <a:defRPr sz="1733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083741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02426" y="885645"/>
            <a:ext cx="3932237" cy="1171755"/>
          </a:xfrm>
        </p:spPr>
        <p:txBody>
          <a:bodyPr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902426" y="2329253"/>
            <a:ext cx="3932237" cy="3539735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902427" y="2187629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552566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ontents_3 Lay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1D0D49B4-C906-4A34-A4E6-B99BA3B191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" y="430"/>
            <a:ext cx="12190476" cy="6857143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4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341465B-FCB4-45C5-981A-4EDDB83CCF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9796" y="6511577"/>
            <a:ext cx="929301" cy="228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611046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73211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098556B0-6A92-41C8-A5CE-B01CAD257A53}" type="datetimeFigureOut">
              <a:rPr lang="en-US" smtClean="0"/>
              <a:t>12/2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0AA649-16D0-4587-832C-E90EB47E25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1755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017266">
            <a:off x="2306674" y="5156466"/>
            <a:ext cx="601110" cy="627119"/>
          </a:xfrm>
          <a:prstGeom prst="rect">
            <a:avLst/>
          </a:prstGeom>
        </p:spPr>
      </p:pic>
      <p:sp>
        <p:nvSpPr>
          <p:cNvPr id="4" name="Rounded Rectangle 3"/>
          <p:cNvSpPr/>
          <p:nvPr userDrawn="1"/>
        </p:nvSpPr>
        <p:spPr>
          <a:xfrm>
            <a:off x="2776976" y="2302312"/>
            <a:ext cx="1624463" cy="162446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667023" y="1681546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1025" y="2555679"/>
            <a:ext cx="867167" cy="803716"/>
          </a:xfrm>
          <a:prstGeom prst="rect">
            <a:avLst/>
          </a:prstGeom>
        </p:spPr>
      </p:pic>
      <p:sp>
        <p:nvSpPr>
          <p:cNvPr id="14" name="Rounded Rectangle 13"/>
          <p:cNvSpPr/>
          <p:nvPr userDrawn="1"/>
        </p:nvSpPr>
        <p:spPr>
          <a:xfrm>
            <a:off x="5283769" y="2276833"/>
            <a:ext cx="1624463" cy="162446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5" name="Rounded Rectangle 14"/>
          <p:cNvSpPr/>
          <p:nvPr userDrawn="1"/>
        </p:nvSpPr>
        <p:spPr>
          <a:xfrm>
            <a:off x="7790561" y="2276833"/>
            <a:ext cx="1624463" cy="162446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>
            <a:normAutofit/>
          </a:bodyPr>
          <a:lstStyle>
            <a:lvl1pPr algn="ctr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ounded Rectangle 11"/>
          <p:cNvSpPr/>
          <p:nvPr userDrawn="1"/>
        </p:nvSpPr>
        <p:spPr>
          <a:xfrm>
            <a:off x="2776976" y="4249865"/>
            <a:ext cx="1624463" cy="162446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7" name="Rounded Rectangle 16"/>
          <p:cNvSpPr/>
          <p:nvPr userDrawn="1"/>
        </p:nvSpPr>
        <p:spPr>
          <a:xfrm>
            <a:off x="5283769" y="4224386"/>
            <a:ext cx="1624463" cy="162446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8" name="Rounded Rectangle 17"/>
          <p:cNvSpPr/>
          <p:nvPr userDrawn="1"/>
        </p:nvSpPr>
        <p:spPr>
          <a:xfrm>
            <a:off x="7790561" y="4224386"/>
            <a:ext cx="1624463" cy="162446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3402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664450">
            <a:off x="2288177" y="4550575"/>
            <a:ext cx="748321" cy="69356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23"/>
          <a:stretch/>
        </p:blipFill>
        <p:spPr>
          <a:xfrm>
            <a:off x="419100" y="830264"/>
            <a:ext cx="11353800" cy="6001857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>
            <a:normAutofit/>
          </a:bodyPr>
          <a:lstStyle>
            <a:lvl1pPr algn="ctr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824" y="2217792"/>
            <a:ext cx="838319" cy="810593"/>
          </a:xfrm>
          <a:prstGeom prst="rect">
            <a:avLst/>
          </a:prstGeom>
        </p:spPr>
      </p:pic>
      <p:sp>
        <p:nvSpPr>
          <p:cNvPr id="17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158857" y="2272637"/>
            <a:ext cx="5858623" cy="3294276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5667023" y="1681546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89051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664450">
            <a:off x="245621" y="4550575"/>
            <a:ext cx="748321" cy="69356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23"/>
          <a:stretch/>
        </p:blipFill>
        <p:spPr>
          <a:xfrm>
            <a:off x="-1623456" y="830264"/>
            <a:ext cx="11353800" cy="6001857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16301" y="2272637"/>
            <a:ext cx="5858623" cy="3294276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7655626" y="1962061"/>
            <a:ext cx="3699762" cy="390692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1057" y="1757663"/>
            <a:ext cx="747175" cy="722463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838201" y="1690689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42582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02426" y="885645"/>
            <a:ext cx="3932237" cy="1171755"/>
          </a:xfrm>
        </p:spPr>
        <p:txBody>
          <a:bodyPr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902426" y="2329253"/>
            <a:ext cx="3932237" cy="3539735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902427" y="2187629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20312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7"/>
          <a:stretch/>
        </p:blipFill>
        <p:spPr>
          <a:xfrm>
            <a:off x="1" y="0"/>
            <a:ext cx="12040119" cy="68622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56075" y="584636"/>
            <a:ext cx="4829283" cy="1501777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556076" y="2266447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6556076" y="2508312"/>
            <a:ext cx="4829282" cy="3641256"/>
          </a:xfrm>
        </p:spPr>
        <p:txBody>
          <a:bodyPr/>
          <a:lstStyle>
            <a:lvl1pPr marL="495325" indent="-495325">
              <a:buFont typeface="+mj-lt"/>
              <a:buAutoNum type="arabicPeriod"/>
              <a:defRPr/>
            </a:lvl1pPr>
            <a:lvl2pPr marL="952548" indent="-495325">
              <a:buFont typeface="+mj-lt"/>
              <a:buAutoNum type="arabicPeriod"/>
              <a:defRPr/>
            </a:lvl2pPr>
            <a:lvl3pPr marL="1257363" indent="-342917">
              <a:buFont typeface="+mj-lt"/>
              <a:buAutoNum type="arabicPeriod"/>
              <a:defRPr/>
            </a:lvl3pPr>
            <a:lvl4pPr marL="1714586" indent="-342917">
              <a:buFont typeface="+mj-lt"/>
              <a:buAutoNum type="arabicPeriod"/>
              <a:defRPr/>
            </a:lvl4pPr>
            <a:lvl5pPr marL="2171809" indent="-342917">
              <a:buFont typeface="+mj-lt"/>
              <a:buAutoNum type="arabicPeriod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339"/>
          <a:stretch/>
        </p:blipFill>
        <p:spPr>
          <a:xfrm rot="20556438">
            <a:off x="-2581898" y="2413172"/>
            <a:ext cx="6505181" cy="410574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936718">
            <a:off x="3662529" y="1117756"/>
            <a:ext cx="1707219" cy="158230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0" y="6518319"/>
            <a:ext cx="927477" cy="201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506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80A4FEAE-4287-4E44-84A7-19E46EE08DF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5002" y="1783080"/>
            <a:ext cx="11442124" cy="4206240"/>
          </a:xfrm>
        </p:spPr>
        <p:txBody>
          <a:bodyPr wrap="square" lIns="91521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FEE9D9-978E-CE47-9301-7D7647048AFD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 bwMode="gray">
          <a:xfrm>
            <a:off x="375002" y="816432"/>
            <a:ext cx="11442124" cy="630936"/>
          </a:xfrm>
        </p:spPr>
        <p:txBody>
          <a:bodyPr lIns="91521" tIns="45761" rIns="91521" bIns="45761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457608" indent="0">
              <a:buNone/>
              <a:defRPr sz="2000" b="1"/>
            </a:lvl2pPr>
            <a:lvl3pPr marL="915216" indent="0">
              <a:buNone/>
              <a:defRPr sz="1900" b="1"/>
            </a:lvl3pPr>
            <a:lvl4pPr marL="1372822" indent="0">
              <a:buNone/>
              <a:defRPr sz="1600" b="1"/>
            </a:lvl4pPr>
            <a:lvl5pPr marL="1830430" indent="0">
              <a:buNone/>
              <a:defRPr sz="1600" b="1"/>
            </a:lvl5pPr>
            <a:lvl6pPr marL="2288038" indent="0">
              <a:buNone/>
              <a:defRPr sz="1600" b="1"/>
            </a:lvl6pPr>
            <a:lvl7pPr marL="2745646" indent="0">
              <a:buNone/>
              <a:defRPr sz="1600" b="1"/>
            </a:lvl7pPr>
            <a:lvl8pPr marL="3203253" indent="0">
              <a:buNone/>
              <a:defRPr sz="1600" b="1"/>
            </a:lvl8pPr>
            <a:lvl9pPr marL="3660861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52CD6B23-E114-BD40-8639-5DEC02FA88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5002" y="527736"/>
            <a:ext cx="11442124" cy="329184"/>
          </a:xfrm>
        </p:spPr>
        <p:txBody>
          <a:bodyPr wrap="square" lIns="91440">
            <a:noAutofit/>
          </a:bodyPr>
          <a:lstStyle>
            <a:lvl1pPr>
              <a:defRPr sz="2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D1438CA-7421-2744-B56E-330DC0C146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7199" y="6547104"/>
            <a:ext cx="4537384" cy="11887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tx1"/>
                </a:solidFill>
              </a:defRPr>
            </a:lvl1pPr>
          </a:lstStyle>
          <a:p>
            <a:r>
              <a:rPr lang="en-US"/>
              <a:t>NetApp INSIGHT © 2020 NetApp, Inc. All rights reserved. NetApp Confidential – Limited Use Only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FDF79D3-C9C4-8B49-A5F0-A49AD195A9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5613" y="6547104"/>
            <a:ext cx="331994" cy="11887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lang="en-US" sz="800" b="0" smtClean="0">
                <a:solidFill>
                  <a:schemeClr val="tx1"/>
                </a:solidFill>
              </a:defRPr>
            </a:lvl1pPr>
          </a:lstStyle>
          <a:p>
            <a:fld id="{B071A5F3-A4FF-4CEE-8215-C08835B585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6938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1700" y="2077247"/>
            <a:ext cx="7251700" cy="2387600"/>
          </a:xfrm>
        </p:spPr>
        <p:txBody>
          <a:bodyPr anchor="b">
            <a:normAutofit/>
          </a:bodyPr>
          <a:lstStyle>
            <a:lvl1pPr algn="l">
              <a:defRPr sz="533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1700" y="4635062"/>
            <a:ext cx="7251700" cy="157762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01701" y="4510003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01701" y="1552559"/>
            <a:ext cx="1631703" cy="35447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261053">
            <a:off x="11102836" y="1426642"/>
            <a:ext cx="758889" cy="70336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52442">
            <a:off x="9122337" y="2531567"/>
            <a:ext cx="1897527" cy="205015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886435">
            <a:off x="9494098" y="559493"/>
            <a:ext cx="645539" cy="67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6878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71" y="1709739"/>
            <a:ext cx="6686550" cy="2718209"/>
          </a:xfrm>
        </p:spPr>
        <p:txBody>
          <a:bodyPr anchor="b">
            <a:normAutofit/>
          </a:bodyPr>
          <a:lstStyle>
            <a:lvl1pPr algn="ctr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7171" y="4786489"/>
            <a:ext cx="6686550" cy="13031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791201" y="4624066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1325" y="845030"/>
            <a:ext cx="1211963" cy="119601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2224" y="980450"/>
            <a:ext cx="2205519" cy="204413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66" y="3191319"/>
            <a:ext cx="2204166" cy="229953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2428" y="3742496"/>
            <a:ext cx="737929" cy="79728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174"/>
          <a:stretch/>
        </p:blipFill>
        <p:spPr>
          <a:xfrm>
            <a:off x="5139937" y="0"/>
            <a:ext cx="1302528" cy="87941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59"/>
          <a:stretch/>
        </p:blipFill>
        <p:spPr>
          <a:xfrm>
            <a:off x="-11502" y="183165"/>
            <a:ext cx="531609" cy="79728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8063" b="1"/>
          <a:stretch/>
        </p:blipFill>
        <p:spPr>
          <a:xfrm>
            <a:off x="9334680" y="5411490"/>
            <a:ext cx="600973" cy="627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9393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542"/>
          <a:stretch/>
        </p:blipFill>
        <p:spPr>
          <a:xfrm>
            <a:off x="0" y="-114300"/>
            <a:ext cx="12192000" cy="47633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71700" y="1122363"/>
            <a:ext cx="8026400" cy="2296232"/>
          </a:xfrm>
        </p:spPr>
        <p:txBody>
          <a:bodyPr anchor="b">
            <a:normAutofit/>
          </a:bodyPr>
          <a:lstStyle>
            <a:lvl1pPr algn="ctr">
              <a:defRPr sz="533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71700" y="3773064"/>
            <a:ext cx="8026400" cy="1484737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91201" y="3555119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261053">
            <a:off x="238983" y="4601310"/>
            <a:ext cx="1416637" cy="131298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422105">
            <a:off x="10921999" y="1982522"/>
            <a:ext cx="546100" cy="56972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280149" y="620254"/>
            <a:ext cx="1631703" cy="354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8406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24930"/>
            <a:ext cx="9480832" cy="4288087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52501" y="3064473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500" y="1040384"/>
            <a:ext cx="1359420" cy="295322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952500" y="2079947"/>
            <a:ext cx="7980172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334" dirty="0">
                <a:solidFill>
                  <a:schemeClr val="bg1"/>
                </a:solidFill>
                <a:latin typeface="+mj-lt"/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9086916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7"/>
          <a:stretch/>
        </p:blipFill>
        <p:spPr>
          <a:xfrm>
            <a:off x="1" y="0"/>
            <a:ext cx="12040119" cy="68622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56075" y="584636"/>
            <a:ext cx="4829283" cy="1501777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556076" y="2266447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6556076" y="2508312"/>
            <a:ext cx="4829282" cy="3641256"/>
          </a:xfrm>
        </p:spPr>
        <p:txBody>
          <a:bodyPr/>
          <a:lstStyle>
            <a:lvl1pPr marL="495325" indent="-495325">
              <a:buFont typeface="+mj-lt"/>
              <a:buAutoNum type="arabicPeriod"/>
              <a:defRPr/>
            </a:lvl1pPr>
            <a:lvl2pPr marL="952548" indent="-495325">
              <a:buFont typeface="+mj-lt"/>
              <a:buAutoNum type="arabicPeriod"/>
              <a:defRPr/>
            </a:lvl2pPr>
            <a:lvl3pPr marL="1257363" indent="-342917">
              <a:buFont typeface="+mj-lt"/>
              <a:buAutoNum type="arabicPeriod"/>
              <a:defRPr/>
            </a:lvl3pPr>
            <a:lvl4pPr marL="1714586" indent="-342917">
              <a:buFont typeface="+mj-lt"/>
              <a:buAutoNum type="arabicPeriod"/>
              <a:defRPr/>
            </a:lvl4pPr>
            <a:lvl5pPr marL="2171809" indent="-342917">
              <a:buFont typeface="+mj-lt"/>
              <a:buAutoNum type="arabicPeriod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339"/>
          <a:stretch/>
        </p:blipFill>
        <p:spPr>
          <a:xfrm rot="20556438">
            <a:off x="-2581898" y="2413172"/>
            <a:ext cx="6505181" cy="410574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936718">
            <a:off x="3662529" y="1117756"/>
            <a:ext cx="1707219" cy="158230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0" y="6518319"/>
            <a:ext cx="927477" cy="201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0780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ase Study - Finan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084733"/>
            <a:ext cx="9144000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761117"/>
            <a:ext cx="9144000" cy="1496683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91201" y="3608068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9401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ex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ounded Rectangle 6"/>
          <p:cNvSpPr/>
          <p:nvPr userDrawn="1"/>
        </p:nvSpPr>
        <p:spPr>
          <a:xfrm>
            <a:off x="838199" y="575096"/>
            <a:ext cx="6126193" cy="55094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>
            <a:noFill/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3151" y="575095"/>
            <a:ext cx="3932237" cy="1482305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423151" y="2329253"/>
            <a:ext cx="3932237" cy="3539735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423151" y="2187629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354051">
            <a:off x="6428841" y="5363369"/>
            <a:ext cx="935956" cy="101123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  <p:sp>
        <p:nvSpPr>
          <p:cNvPr id="14" name="Content Placeholder 2"/>
          <p:cNvSpPr>
            <a:spLocks noGrp="1"/>
          </p:cNvSpPr>
          <p:nvPr>
            <p:ph idx="12"/>
          </p:nvPr>
        </p:nvSpPr>
        <p:spPr>
          <a:xfrm>
            <a:off x="1155865" y="987425"/>
            <a:ext cx="5430674" cy="479802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068458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ex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ounded Rectangle 6"/>
          <p:cNvSpPr/>
          <p:nvPr userDrawn="1"/>
        </p:nvSpPr>
        <p:spPr>
          <a:xfrm>
            <a:off x="838200" y="575095"/>
            <a:ext cx="7054933" cy="5509403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>
            <a:noFill/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1106" y="575095"/>
            <a:ext cx="3074282" cy="1105122"/>
          </a:xfrm>
        </p:spPr>
        <p:txBody>
          <a:bodyPr anchor="b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81106" y="1947553"/>
            <a:ext cx="3074282" cy="3921435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8281106" y="1815535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354051">
            <a:off x="376581" y="4915230"/>
            <a:ext cx="630266" cy="68096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1155865" y="926276"/>
            <a:ext cx="6357257" cy="485917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58961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omparison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38201" y="1690689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509065">
            <a:off x="178076" y="5642045"/>
            <a:ext cx="830673" cy="866616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096000" y="1909314"/>
            <a:ext cx="0" cy="4274615"/>
          </a:xfrm>
          <a:prstGeom prst="line">
            <a:avLst/>
          </a:prstGeom>
          <a:ln w="317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0820" y="1186305"/>
            <a:ext cx="867167" cy="803716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idx="13"/>
          </p:nvPr>
        </p:nvSpPr>
        <p:spPr>
          <a:xfrm>
            <a:off x="838200" y="1909312"/>
            <a:ext cx="5003787" cy="4283021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4"/>
          </p:nvPr>
        </p:nvSpPr>
        <p:spPr>
          <a:xfrm>
            <a:off x="6350013" y="1900908"/>
            <a:ext cx="5003787" cy="4283021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84464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883648">
            <a:off x="330655" y="5725961"/>
            <a:ext cx="601110" cy="62711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0820" y="1186305"/>
            <a:ext cx="867167" cy="803716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idx="1"/>
          </p:nvPr>
        </p:nvSpPr>
        <p:spPr>
          <a:xfrm>
            <a:off x="838200" y="2183569"/>
            <a:ext cx="3282435" cy="375062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2"/>
          </p:nvPr>
        </p:nvSpPr>
        <p:spPr>
          <a:xfrm>
            <a:off x="4444543" y="2183569"/>
            <a:ext cx="3292675" cy="375062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13"/>
          </p:nvPr>
        </p:nvSpPr>
        <p:spPr>
          <a:xfrm>
            <a:off x="8061125" y="2181857"/>
            <a:ext cx="3292675" cy="375062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278702" y="2181857"/>
            <a:ext cx="0" cy="3750625"/>
          </a:xfrm>
          <a:prstGeom prst="line">
            <a:avLst/>
          </a:prstGeom>
          <a:ln w="317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7899879" y="2181857"/>
            <a:ext cx="0" cy="3750625"/>
          </a:xfrm>
          <a:prstGeom prst="line">
            <a:avLst/>
          </a:prstGeom>
          <a:ln w="317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  <p:cxnSp>
        <p:nvCxnSpPr>
          <p:cNvPr id="22" name="Straight Connector 21"/>
          <p:cNvCxnSpPr/>
          <p:nvPr userDrawn="1"/>
        </p:nvCxnSpPr>
        <p:spPr>
          <a:xfrm>
            <a:off x="2174618" y="1987126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5786081" y="1990633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9397543" y="1992080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99478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883648">
            <a:off x="11140122" y="3092135"/>
            <a:ext cx="601110" cy="62711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08" y="5182111"/>
            <a:ext cx="867167" cy="803716"/>
          </a:xfrm>
          <a:prstGeom prst="rect">
            <a:avLst/>
          </a:prstGeom>
        </p:spPr>
      </p:pic>
      <p:sp>
        <p:nvSpPr>
          <p:cNvPr id="19" name="Rounded Rectangle 18"/>
          <p:cNvSpPr/>
          <p:nvPr userDrawn="1"/>
        </p:nvSpPr>
        <p:spPr>
          <a:xfrm>
            <a:off x="838200" y="1943819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6" name="Rounded Rectangle 25"/>
          <p:cNvSpPr/>
          <p:nvPr userDrawn="1"/>
        </p:nvSpPr>
        <p:spPr>
          <a:xfrm>
            <a:off x="7993812" y="1943819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7" name="Rounded Rectangle 26"/>
          <p:cNvSpPr/>
          <p:nvPr userDrawn="1"/>
        </p:nvSpPr>
        <p:spPr>
          <a:xfrm>
            <a:off x="4416006" y="1943819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8" name="Content Placeholder 2"/>
          <p:cNvSpPr>
            <a:spLocks noGrp="1"/>
          </p:cNvSpPr>
          <p:nvPr>
            <p:ph idx="1"/>
          </p:nvPr>
        </p:nvSpPr>
        <p:spPr>
          <a:xfrm>
            <a:off x="1106803" y="2183569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2"/>
          </p:nvPr>
        </p:nvSpPr>
        <p:spPr>
          <a:xfrm>
            <a:off x="4668215" y="2183569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13"/>
          </p:nvPr>
        </p:nvSpPr>
        <p:spPr>
          <a:xfrm>
            <a:off x="8246021" y="2181857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788064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_3 Lay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883648">
            <a:off x="11140122" y="3092135"/>
            <a:ext cx="601110" cy="62711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08" y="5182111"/>
            <a:ext cx="867167" cy="803716"/>
          </a:xfrm>
          <a:prstGeom prst="rect">
            <a:avLst/>
          </a:prstGeom>
        </p:spPr>
      </p:pic>
      <p:sp>
        <p:nvSpPr>
          <p:cNvPr id="19" name="Rounded Rectangle 18"/>
          <p:cNvSpPr/>
          <p:nvPr userDrawn="1"/>
        </p:nvSpPr>
        <p:spPr>
          <a:xfrm>
            <a:off x="838200" y="1943819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rgbClr val="7793FF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6" name="Rounded Rectangle 25"/>
          <p:cNvSpPr/>
          <p:nvPr userDrawn="1"/>
        </p:nvSpPr>
        <p:spPr>
          <a:xfrm>
            <a:off x="7993812" y="1943819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chemeClr val="accent3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7" name="Rounded Rectangle 26"/>
          <p:cNvSpPr/>
          <p:nvPr userDrawn="1"/>
        </p:nvSpPr>
        <p:spPr>
          <a:xfrm>
            <a:off x="4416006" y="1943819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chemeClr val="accent2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8" name="Content Placeholder 2"/>
          <p:cNvSpPr>
            <a:spLocks noGrp="1"/>
          </p:cNvSpPr>
          <p:nvPr>
            <p:ph idx="1"/>
          </p:nvPr>
        </p:nvSpPr>
        <p:spPr>
          <a:xfrm>
            <a:off x="1106803" y="2183569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2"/>
          </p:nvPr>
        </p:nvSpPr>
        <p:spPr>
          <a:xfrm>
            <a:off x="4668215" y="2183569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13"/>
          </p:nvPr>
        </p:nvSpPr>
        <p:spPr>
          <a:xfrm>
            <a:off x="8246021" y="2181857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12646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03345" y="4904015"/>
            <a:ext cx="1603783" cy="94877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017266">
            <a:off x="662136" y="4070876"/>
            <a:ext cx="1105342" cy="1153169"/>
          </a:xfrm>
          <a:prstGeom prst="rect">
            <a:avLst/>
          </a:prstGeom>
        </p:spPr>
      </p:pic>
      <p:sp>
        <p:nvSpPr>
          <p:cNvPr id="4" name="Rounded Rectangle 3"/>
          <p:cNvSpPr/>
          <p:nvPr userDrawn="1"/>
        </p:nvSpPr>
        <p:spPr>
          <a:xfrm>
            <a:off x="1524000" y="1122364"/>
            <a:ext cx="9144000" cy="4135437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>
            <a:noFill/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1163" y="1505529"/>
            <a:ext cx="8368147" cy="2826327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50000"/>
              </a:lnSpc>
              <a:buNone/>
              <a:defRPr sz="20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“Click to edit Master subtitle style”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ubtitle 2"/>
          <p:cNvSpPr txBox="1">
            <a:spLocks/>
          </p:cNvSpPr>
          <p:nvPr userDrawn="1"/>
        </p:nvSpPr>
        <p:spPr>
          <a:xfrm>
            <a:off x="1921163" y="4546624"/>
            <a:ext cx="8368147" cy="496407"/>
          </a:xfrm>
          <a:prstGeom prst="rect">
            <a:avLst/>
          </a:prstGeom>
        </p:spPr>
        <p:txBody>
          <a:bodyPr vert="horz" lIns="60960" tIns="30480" rIns="60960" bIns="30480" rtlCol="0" anchor="ctr">
            <a:normAutofit/>
          </a:bodyPr>
          <a:lstStyle>
            <a:lvl1pPr marL="0" indent="0" algn="ctr" defTabSz="1371600" rtl="0" eaLnBrk="1" latinLnBrk="0" hangingPunct="1">
              <a:lnSpc>
                <a:spcPct val="150000"/>
              </a:lnSpc>
              <a:spcBef>
                <a:spcPts val="1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Name </a:t>
            </a:r>
            <a:r>
              <a:rPr lang="en-US" sz="1600" b="1" dirty="0" err="1"/>
              <a:t>Namerson</a:t>
            </a:r>
            <a:r>
              <a:rPr lang="en-US" sz="1600" b="1" dirty="0"/>
              <a:t>,</a:t>
            </a:r>
            <a:r>
              <a:rPr lang="en-US" sz="1600" b="1" baseline="0" dirty="0"/>
              <a:t> </a:t>
            </a:r>
            <a:r>
              <a:rPr lang="en-US" sz="1600" b="1" dirty="0"/>
              <a:t>Company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667023" y="4452457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882" y="852586"/>
            <a:ext cx="1408981" cy="1305885"/>
          </a:xfrm>
          <a:prstGeom prst="rect">
            <a:avLst/>
          </a:prstGeom>
        </p:spPr>
      </p:pic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21876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017266">
            <a:off x="702937" y="5000472"/>
            <a:ext cx="698888" cy="72912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Rounded Rectangle 11"/>
          <p:cNvSpPr/>
          <p:nvPr userDrawn="1"/>
        </p:nvSpPr>
        <p:spPr>
          <a:xfrm>
            <a:off x="1215037" y="575095"/>
            <a:ext cx="9734759" cy="5643163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>
            <a:noFill/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5654" y="1063352"/>
            <a:ext cx="758570" cy="703065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2"/>
          </p:nvPr>
        </p:nvSpPr>
        <p:spPr>
          <a:xfrm>
            <a:off x="1633268" y="926276"/>
            <a:ext cx="8902460" cy="492430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280392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017266">
            <a:off x="702937" y="5000472"/>
            <a:ext cx="698888" cy="72912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Rounded Rectangle 11"/>
          <p:cNvSpPr/>
          <p:nvPr userDrawn="1"/>
        </p:nvSpPr>
        <p:spPr>
          <a:xfrm>
            <a:off x="1215037" y="1369620"/>
            <a:ext cx="9734759" cy="4848637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>
            <a:noFill/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5654" y="1063352"/>
            <a:ext cx="758570" cy="703065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667023" y="1231526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66401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1633268" y="1836934"/>
            <a:ext cx="8902460" cy="401364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39766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0437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89150" y="6518319"/>
            <a:ext cx="927477" cy="2014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82925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גרפיקה 57">
            <a:extLst>
              <a:ext uri="{FF2B5EF4-FFF2-40B4-BE49-F238E27FC236}">
                <a16:creationId xmlns:a16="http://schemas.microsoft.com/office/drawing/2014/main" id="{D997BAAA-7CCF-49D7-ABAC-33A52BDB91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8264" y="6378632"/>
            <a:ext cx="1170705" cy="2841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143339" y="6356351"/>
            <a:ext cx="2743200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tx1">
                    <a:lumMod val="2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E345B7-F13C-5B46-A99D-4CE2A4EE528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232A3D">
                    <a:lumMod val="25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232A3D">
                  <a:lumMod val="25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E3F89595-C717-4576-8BF4-370452762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744" y="221378"/>
            <a:ext cx="11066656" cy="74411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>
              <a:defRPr sz="3867">
                <a:solidFill>
                  <a:schemeClr val="tx1">
                    <a:lumMod val="2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Slide Title</a:t>
            </a:r>
            <a:r>
              <a:rPr lang="mr-IN" dirty="0"/>
              <a:t>…</a:t>
            </a:r>
            <a:endParaRPr lang="en-US" dirty="0"/>
          </a:p>
        </p:txBody>
      </p:sp>
      <p:cxnSp>
        <p:nvCxnSpPr>
          <p:cNvPr id="8" name="Straight Connector 17">
            <a:extLst>
              <a:ext uri="{FF2B5EF4-FFF2-40B4-BE49-F238E27FC236}">
                <a16:creationId xmlns:a16="http://schemas.microsoft.com/office/drawing/2014/main" id="{FB6A3D26-C65C-41D0-9549-69082D6DB3D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15744" y="1092200"/>
            <a:ext cx="985773" cy="0"/>
          </a:xfrm>
          <a:prstGeom prst="line">
            <a:avLst/>
          </a:prstGeom>
          <a:ln w="19050">
            <a:solidFill>
              <a:srgbClr val="FF8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33538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 w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143339" y="6356351"/>
            <a:ext cx="2743200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tx1">
                    <a:lumMod val="2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E345B7-F13C-5B46-A99D-4CE2A4EE528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232A3D">
                    <a:lumMod val="25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232A3D">
                  <a:lumMod val="25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51"/>
          </p:nvPr>
        </p:nvSpPr>
        <p:spPr>
          <a:xfrm>
            <a:off x="479393" y="2118831"/>
            <a:ext cx="5400249" cy="3989792"/>
          </a:xfrm>
          <a:prstGeom prst="rect">
            <a:avLst/>
          </a:prstGeom>
        </p:spPr>
        <p:txBody>
          <a:bodyPr lIns="0" tIns="0" rIns="0" bIns="0"/>
          <a:lstStyle>
            <a:lvl1pPr marL="311143" indent="-300559">
              <a:spcBef>
                <a:spcPts val="400"/>
              </a:spcBef>
              <a:buFont typeface="Wingdings" panose="05000000000000000000" pitchFamily="2" charset="2"/>
              <a:buChar char="§"/>
              <a:tabLst/>
              <a:defRPr sz="2133">
                <a:solidFill>
                  <a:schemeClr val="tx1">
                    <a:lumMod val="25000"/>
                  </a:schemeClr>
                </a:solidFill>
                <a:latin typeface="Trebuchet MS" panose="020B0603020202020204" pitchFamily="34" charset="0"/>
              </a:defRPr>
            </a:lvl1pPr>
            <a:lvl2pPr marL="611702" indent="-300559">
              <a:spcBef>
                <a:spcPts val="400"/>
              </a:spcBef>
              <a:buSzPct val="80000"/>
              <a:buFont typeface="Courier New" charset="0"/>
              <a:buChar char="o"/>
              <a:tabLst/>
              <a:defRPr sz="2133">
                <a:solidFill>
                  <a:schemeClr val="tx1">
                    <a:lumMod val="25000"/>
                  </a:schemeClr>
                </a:solidFill>
                <a:latin typeface="Trebuchet MS" panose="020B0603020202020204" pitchFamily="34" charset="0"/>
              </a:defRPr>
            </a:lvl2pPr>
            <a:lvl3pPr marL="922844" indent="-311143">
              <a:spcBef>
                <a:spcPts val="0"/>
              </a:spcBef>
              <a:tabLst/>
              <a:defRPr sz="1600">
                <a:solidFill>
                  <a:schemeClr val="tx1">
                    <a:lumMod val="25000"/>
                  </a:schemeClr>
                </a:solidFill>
                <a:latin typeface="Trebuchet MS" panose="020B0603020202020204" pitchFamily="34" charset="0"/>
              </a:defRPr>
            </a:lvl3pPr>
            <a:lvl4pPr marL="1223403" indent="-287859">
              <a:spcBef>
                <a:spcPts val="0"/>
              </a:spcBef>
              <a:tabLst/>
              <a:defRPr sz="1467">
                <a:solidFill>
                  <a:schemeClr val="tx1">
                    <a:lumMod val="25000"/>
                  </a:schemeClr>
                </a:solidFill>
                <a:latin typeface="Trebuchet MS" panose="020B0603020202020204" pitchFamily="34" charset="0"/>
              </a:defRPr>
            </a:lvl4pPr>
            <a:lvl5pPr marL="1526079" indent="-323843">
              <a:spcBef>
                <a:spcPts val="0"/>
              </a:spcBef>
              <a:tabLst/>
              <a:defRPr sz="1467">
                <a:solidFill>
                  <a:schemeClr val="tx1">
                    <a:lumMod val="25000"/>
                  </a:schemeClr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6286573" y="2118831"/>
            <a:ext cx="5400249" cy="3989792"/>
          </a:xfrm>
          <a:prstGeom prst="rect">
            <a:avLst/>
          </a:prstGeom>
        </p:spPr>
        <p:txBody>
          <a:bodyPr lIns="0" tIns="0" rIns="0" bIns="0"/>
          <a:lstStyle>
            <a:lvl1pPr marL="311143" indent="-300559">
              <a:spcBef>
                <a:spcPts val="400"/>
              </a:spcBef>
              <a:buFont typeface="Wingdings" panose="05000000000000000000" pitchFamily="2" charset="2"/>
              <a:buChar char="§"/>
              <a:tabLst/>
              <a:defRPr sz="2133">
                <a:solidFill>
                  <a:schemeClr val="tx1">
                    <a:lumMod val="25000"/>
                  </a:schemeClr>
                </a:solidFill>
                <a:latin typeface="Trebuchet MS" panose="020B0603020202020204" pitchFamily="34" charset="0"/>
              </a:defRPr>
            </a:lvl1pPr>
            <a:lvl2pPr marL="611702" indent="-300559">
              <a:spcBef>
                <a:spcPts val="400"/>
              </a:spcBef>
              <a:buSzPct val="80000"/>
              <a:buFont typeface="Courier New" charset="0"/>
              <a:buChar char="o"/>
              <a:tabLst/>
              <a:defRPr sz="2133">
                <a:solidFill>
                  <a:schemeClr val="tx1">
                    <a:lumMod val="25000"/>
                  </a:schemeClr>
                </a:solidFill>
                <a:latin typeface="Trebuchet MS" panose="020B0603020202020204" pitchFamily="34" charset="0"/>
              </a:defRPr>
            </a:lvl2pPr>
            <a:lvl3pPr marL="922844" indent="-311143">
              <a:spcBef>
                <a:spcPts val="0"/>
              </a:spcBef>
              <a:tabLst/>
              <a:defRPr sz="1600">
                <a:solidFill>
                  <a:schemeClr val="tx1">
                    <a:lumMod val="25000"/>
                  </a:schemeClr>
                </a:solidFill>
                <a:latin typeface="Trebuchet MS" panose="020B0603020202020204" pitchFamily="34" charset="0"/>
              </a:defRPr>
            </a:lvl3pPr>
            <a:lvl4pPr marL="1223403" indent="-287859">
              <a:spcBef>
                <a:spcPts val="0"/>
              </a:spcBef>
              <a:tabLst/>
              <a:defRPr sz="1467">
                <a:solidFill>
                  <a:schemeClr val="tx1">
                    <a:lumMod val="25000"/>
                  </a:schemeClr>
                </a:solidFill>
                <a:latin typeface="Trebuchet MS" panose="020B0603020202020204" pitchFamily="34" charset="0"/>
              </a:defRPr>
            </a:lvl4pPr>
            <a:lvl5pPr marL="1526079" indent="-323843">
              <a:spcBef>
                <a:spcPts val="0"/>
              </a:spcBef>
              <a:tabLst/>
              <a:defRPr sz="1467">
                <a:solidFill>
                  <a:schemeClr val="tx1">
                    <a:lumMod val="25000"/>
                  </a:schemeClr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מציין מיקום טקסט 6">
            <a:extLst>
              <a:ext uri="{FF2B5EF4-FFF2-40B4-BE49-F238E27FC236}">
                <a16:creationId xmlns:a16="http://schemas.microsoft.com/office/drawing/2014/main" id="{FB0A962A-F577-43B6-901C-F31F6B32F7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395" y="1600201"/>
            <a:ext cx="5400248" cy="5186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 b="1">
                <a:solidFill>
                  <a:srgbClr val="29A7DE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Text text text text</a:t>
            </a:r>
            <a:endParaRPr lang="he-IL" dirty="0"/>
          </a:p>
        </p:txBody>
      </p:sp>
      <p:sp>
        <p:nvSpPr>
          <p:cNvPr id="14" name="מציין מיקום טקסט 6">
            <a:extLst>
              <a:ext uri="{FF2B5EF4-FFF2-40B4-BE49-F238E27FC236}">
                <a16:creationId xmlns:a16="http://schemas.microsoft.com/office/drawing/2014/main" id="{FB0A962A-F577-43B6-901C-F31F6B32F79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286573" y="1600201"/>
            <a:ext cx="5400248" cy="5186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 b="1">
                <a:solidFill>
                  <a:srgbClr val="29A7DE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Text text text text</a:t>
            </a:r>
            <a:endParaRPr lang="he-IL" dirty="0"/>
          </a:p>
        </p:txBody>
      </p:sp>
      <p:pic>
        <p:nvPicPr>
          <p:cNvPr id="10" name="גרפיקה 57">
            <a:extLst>
              <a:ext uri="{FF2B5EF4-FFF2-40B4-BE49-F238E27FC236}">
                <a16:creationId xmlns:a16="http://schemas.microsoft.com/office/drawing/2014/main" id="{D7A15AE1-B5D8-4C1A-91EF-1F3AFA7665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8264" y="6378632"/>
            <a:ext cx="1170705" cy="2841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0369F3B9-6651-42A7-A3F2-B1E756091DBE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15744" y="1092200"/>
            <a:ext cx="985773" cy="0"/>
          </a:xfrm>
          <a:prstGeom prst="line">
            <a:avLst/>
          </a:prstGeom>
          <a:ln w="19050">
            <a:solidFill>
              <a:srgbClr val="FF8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6">
            <a:extLst>
              <a:ext uri="{FF2B5EF4-FFF2-40B4-BE49-F238E27FC236}">
                <a16:creationId xmlns:a16="http://schemas.microsoft.com/office/drawing/2014/main" id="{4922191A-7B0E-4731-824E-0B0B18ADB0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744" y="221378"/>
            <a:ext cx="11171077" cy="74411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>
              <a:defRPr sz="3867">
                <a:solidFill>
                  <a:schemeClr val="tx1">
                    <a:lumMod val="2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Slide Title</a:t>
            </a:r>
            <a:r>
              <a:rPr lang="mr-IN" dirty="0"/>
              <a:t>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8208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1700" y="2077247"/>
            <a:ext cx="7251700" cy="2387600"/>
          </a:xfrm>
        </p:spPr>
        <p:txBody>
          <a:bodyPr anchor="b">
            <a:normAutofit/>
          </a:bodyPr>
          <a:lstStyle>
            <a:lvl1pPr algn="l">
              <a:defRPr sz="533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1700" y="4635062"/>
            <a:ext cx="7251700" cy="157762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01701" y="4510003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01701" y="1552559"/>
            <a:ext cx="1631703" cy="35447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261053">
            <a:off x="11102836" y="1426642"/>
            <a:ext cx="758889" cy="70336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52442">
            <a:off x="9122337" y="2531567"/>
            <a:ext cx="1897527" cy="205015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886435">
            <a:off x="9494098" y="559493"/>
            <a:ext cx="645539" cy="67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76485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71700" y="1122363"/>
            <a:ext cx="8026400" cy="2296232"/>
          </a:xfrm>
        </p:spPr>
        <p:txBody>
          <a:bodyPr anchor="b">
            <a:normAutofit/>
          </a:bodyPr>
          <a:lstStyle>
            <a:lvl1pPr algn="ctr">
              <a:defRPr sz="533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71700" y="3773064"/>
            <a:ext cx="8026400" cy="1484737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91201" y="3555119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261053">
            <a:off x="238983" y="4601310"/>
            <a:ext cx="1416637" cy="131298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422105">
            <a:off x="11252200" y="4733027"/>
            <a:ext cx="546100" cy="56972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280149" y="620254"/>
            <a:ext cx="1631703" cy="354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2044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24930"/>
            <a:ext cx="9480832" cy="4288087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52501" y="3064473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500" y="1040384"/>
            <a:ext cx="1359420" cy="295322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952500" y="2079947"/>
            <a:ext cx="7980172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334" dirty="0">
                <a:solidFill>
                  <a:schemeClr val="bg1"/>
                </a:solidFill>
                <a:latin typeface="+mj-lt"/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37409092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7"/>
          <a:stretch/>
        </p:blipFill>
        <p:spPr>
          <a:xfrm>
            <a:off x="1" y="0"/>
            <a:ext cx="12040119" cy="68622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56075" y="584636"/>
            <a:ext cx="4829283" cy="1501777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556076" y="2266447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6556076" y="2508312"/>
            <a:ext cx="4829282" cy="3641256"/>
          </a:xfrm>
        </p:spPr>
        <p:txBody>
          <a:bodyPr/>
          <a:lstStyle>
            <a:lvl1pPr marL="495325" indent="-495325">
              <a:buFont typeface="+mj-lt"/>
              <a:buAutoNum type="arabicPeriod"/>
              <a:defRPr/>
            </a:lvl1pPr>
            <a:lvl2pPr marL="952548" indent="-495325">
              <a:buFont typeface="+mj-lt"/>
              <a:buAutoNum type="arabicPeriod"/>
              <a:defRPr/>
            </a:lvl2pPr>
            <a:lvl3pPr marL="1257363" indent="-342917">
              <a:buFont typeface="+mj-lt"/>
              <a:buAutoNum type="arabicPeriod"/>
              <a:defRPr/>
            </a:lvl3pPr>
            <a:lvl4pPr marL="1714586" indent="-342917">
              <a:buFont typeface="+mj-lt"/>
              <a:buAutoNum type="arabicPeriod"/>
              <a:defRPr/>
            </a:lvl4pPr>
            <a:lvl5pPr marL="2171809" indent="-342917">
              <a:buFont typeface="+mj-lt"/>
              <a:buAutoNum type="arabicPeriod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339"/>
          <a:stretch/>
        </p:blipFill>
        <p:spPr>
          <a:xfrm rot="20556438">
            <a:off x="-2581898" y="2413172"/>
            <a:ext cx="6505181" cy="410574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936718">
            <a:off x="3662529" y="1117756"/>
            <a:ext cx="1707219" cy="158230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0" y="6518319"/>
            <a:ext cx="927477" cy="201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771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Mai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8457" y="1085626"/>
            <a:ext cx="1447800" cy="14287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38201" y="1690689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838200" y="1909313"/>
            <a:ext cx="10515600" cy="4267651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000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509065">
            <a:off x="178076" y="5642045"/>
            <a:ext cx="830673" cy="86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3305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ase Study - Finan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084733"/>
            <a:ext cx="9144000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761117"/>
            <a:ext cx="9144000" cy="1496683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91201" y="3608068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14036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ex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ounded Rectangle 6"/>
          <p:cNvSpPr/>
          <p:nvPr userDrawn="1"/>
        </p:nvSpPr>
        <p:spPr>
          <a:xfrm>
            <a:off x="838199" y="575096"/>
            <a:ext cx="6126193" cy="55094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>
            <a:noFill/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3151" y="575095"/>
            <a:ext cx="3932237" cy="1482305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423151" y="2329253"/>
            <a:ext cx="3932237" cy="3539735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423151" y="2187629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354051">
            <a:off x="6428841" y="5363369"/>
            <a:ext cx="935956" cy="101123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  <p:sp>
        <p:nvSpPr>
          <p:cNvPr id="14" name="Content Placeholder 2"/>
          <p:cNvSpPr>
            <a:spLocks noGrp="1"/>
          </p:cNvSpPr>
          <p:nvPr>
            <p:ph idx="12"/>
          </p:nvPr>
        </p:nvSpPr>
        <p:spPr>
          <a:xfrm>
            <a:off x="1155865" y="987425"/>
            <a:ext cx="5430674" cy="479802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5356019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ex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ounded Rectangle 6"/>
          <p:cNvSpPr/>
          <p:nvPr userDrawn="1"/>
        </p:nvSpPr>
        <p:spPr>
          <a:xfrm>
            <a:off x="838200" y="575095"/>
            <a:ext cx="7054933" cy="5509403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>
            <a:noFill/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1106" y="575095"/>
            <a:ext cx="3074282" cy="1105122"/>
          </a:xfrm>
        </p:spPr>
        <p:txBody>
          <a:bodyPr anchor="b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81106" y="1947553"/>
            <a:ext cx="3074282" cy="3921435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8281106" y="1815535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354051">
            <a:off x="376581" y="4915230"/>
            <a:ext cx="630266" cy="68096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1155865" y="926276"/>
            <a:ext cx="6357257" cy="485917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224209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omparison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38201" y="1690689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509065">
            <a:off x="178076" y="5642045"/>
            <a:ext cx="830673" cy="866616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096000" y="1909314"/>
            <a:ext cx="0" cy="4274615"/>
          </a:xfrm>
          <a:prstGeom prst="line">
            <a:avLst/>
          </a:prstGeom>
          <a:ln w="317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0820" y="1186305"/>
            <a:ext cx="867167" cy="803716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idx="13"/>
          </p:nvPr>
        </p:nvSpPr>
        <p:spPr>
          <a:xfrm>
            <a:off x="838200" y="1909312"/>
            <a:ext cx="5003787" cy="4283021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4"/>
          </p:nvPr>
        </p:nvSpPr>
        <p:spPr>
          <a:xfrm>
            <a:off x="6350013" y="1900908"/>
            <a:ext cx="5003787" cy="4283021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21770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883648">
            <a:off x="330655" y="5725961"/>
            <a:ext cx="601110" cy="62711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0820" y="1186305"/>
            <a:ext cx="867167" cy="803716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idx="1"/>
          </p:nvPr>
        </p:nvSpPr>
        <p:spPr>
          <a:xfrm>
            <a:off x="838200" y="2183569"/>
            <a:ext cx="3282435" cy="375062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2"/>
          </p:nvPr>
        </p:nvSpPr>
        <p:spPr>
          <a:xfrm>
            <a:off x="4444543" y="2183569"/>
            <a:ext cx="3292675" cy="375062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13"/>
          </p:nvPr>
        </p:nvSpPr>
        <p:spPr>
          <a:xfrm>
            <a:off x="8061125" y="2181857"/>
            <a:ext cx="3292675" cy="375062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278702" y="2181857"/>
            <a:ext cx="0" cy="3750625"/>
          </a:xfrm>
          <a:prstGeom prst="line">
            <a:avLst/>
          </a:prstGeom>
          <a:ln w="317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7899879" y="2181857"/>
            <a:ext cx="0" cy="3750625"/>
          </a:xfrm>
          <a:prstGeom prst="line">
            <a:avLst/>
          </a:prstGeom>
          <a:ln w="317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  <p:cxnSp>
        <p:nvCxnSpPr>
          <p:cNvPr id="22" name="Straight Connector 21"/>
          <p:cNvCxnSpPr/>
          <p:nvPr userDrawn="1"/>
        </p:nvCxnSpPr>
        <p:spPr>
          <a:xfrm>
            <a:off x="2174618" y="1987126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5786081" y="1990633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9397543" y="1992080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67546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883648">
            <a:off x="11140122" y="3092135"/>
            <a:ext cx="601110" cy="62711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08" y="5182111"/>
            <a:ext cx="867167" cy="803716"/>
          </a:xfrm>
          <a:prstGeom prst="rect">
            <a:avLst/>
          </a:prstGeom>
        </p:spPr>
      </p:pic>
      <p:sp>
        <p:nvSpPr>
          <p:cNvPr id="19" name="Rounded Rectangle 18"/>
          <p:cNvSpPr/>
          <p:nvPr userDrawn="1"/>
        </p:nvSpPr>
        <p:spPr>
          <a:xfrm>
            <a:off x="838200" y="1943819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6" name="Rounded Rectangle 25"/>
          <p:cNvSpPr/>
          <p:nvPr userDrawn="1"/>
        </p:nvSpPr>
        <p:spPr>
          <a:xfrm>
            <a:off x="7993812" y="1943819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7" name="Rounded Rectangle 26"/>
          <p:cNvSpPr/>
          <p:nvPr userDrawn="1"/>
        </p:nvSpPr>
        <p:spPr>
          <a:xfrm>
            <a:off x="4416006" y="1943819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8" name="Content Placeholder 2"/>
          <p:cNvSpPr>
            <a:spLocks noGrp="1"/>
          </p:cNvSpPr>
          <p:nvPr>
            <p:ph idx="1"/>
          </p:nvPr>
        </p:nvSpPr>
        <p:spPr>
          <a:xfrm>
            <a:off x="1106803" y="2183569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2"/>
          </p:nvPr>
        </p:nvSpPr>
        <p:spPr>
          <a:xfrm>
            <a:off x="4668215" y="2183569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13"/>
          </p:nvPr>
        </p:nvSpPr>
        <p:spPr>
          <a:xfrm>
            <a:off x="8246021" y="2181857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316263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_3 Lay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883648">
            <a:off x="11140122" y="3092135"/>
            <a:ext cx="601110" cy="62711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08" y="5182111"/>
            <a:ext cx="867167" cy="803716"/>
          </a:xfrm>
          <a:prstGeom prst="rect">
            <a:avLst/>
          </a:prstGeom>
        </p:spPr>
      </p:pic>
      <p:sp>
        <p:nvSpPr>
          <p:cNvPr id="19" name="Rounded Rectangle 18"/>
          <p:cNvSpPr/>
          <p:nvPr userDrawn="1"/>
        </p:nvSpPr>
        <p:spPr>
          <a:xfrm>
            <a:off x="838200" y="1943819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rgbClr val="7793FF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6" name="Rounded Rectangle 25"/>
          <p:cNvSpPr/>
          <p:nvPr userDrawn="1"/>
        </p:nvSpPr>
        <p:spPr>
          <a:xfrm>
            <a:off x="7993812" y="1943819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chemeClr val="accent3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7" name="Rounded Rectangle 26"/>
          <p:cNvSpPr/>
          <p:nvPr userDrawn="1"/>
        </p:nvSpPr>
        <p:spPr>
          <a:xfrm>
            <a:off x="4416006" y="1943819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chemeClr val="accent2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8" name="Content Placeholder 2"/>
          <p:cNvSpPr>
            <a:spLocks noGrp="1"/>
          </p:cNvSpPr>
          <p:nvPr>
            <p:ph idx="1"/>
          </p:nvPr>
        </p:nvSpPr>
        <p:spPr>
          <a:xfrm>
            <a:off x="1106803" y="2183569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2"/>
          </p:nvPr>
        </p:nvSpPr>
        <p:spPr>
          <a:xfrm>
            <a:off x="4668215" y="2183569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13"/>
          </p:nvPr>
        </p:nvSpPr>
        <p:spPr>
          <a:xfrm>
            <a:off x="8246021" y="2181857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34566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017266">
            <a:off x="702937" y="5000472"/>
            <a:ext cx="698888" cy="72912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Rounded Rectangle 11"/>
          <p:cNvSpPr/>
          <p:nvPr userDrawn="1"/>
        </p:nvSpPr>
        <p:spPr>
          <a:xfrm>
            <a:off x="1215037" y="575095"/>
            <a:ext cx="9734759" cy="5643163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>
            <a:noFill/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5654" y="1063352"/>
            <a:ext cx="758570" cy="703065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2"/>
          </p:nvPr>
        </p:nvSpPr>
        <p:spPr>
          <a:xfrm>
            <a:off x="1633268" y="926276"/>
            <a:ext cx="8902460" cy="492430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61107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017266">
            <a:off x="702937" y="5000472"/>
            <a:ext cx="698888" cy="72912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Rounded Rectangle 11"/>
          <p:cNvSpPr/>
          <p:nvPr userDrawn="1"/>
        </p:nvSpPr>
        <p:spPr>
          <a:xfrm>
            <a:off x="1215037" y="1369620"/>
            <a:ext cx="9734759" cy="4848637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>
            <a:noFill/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5654" y="1063352"/>
            <a:ext cx="758570" cy="703065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667023" y="1231526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66401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1633268" y="1836934"/>
            <a:ext cx="8902460" cy="401364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77471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65904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p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5945" y="1085626"/>
            <a:ext cx="1447800" cy="14287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38201" y="1690689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509065">
            <a:off x="178076" y="5642045"/>
            <a:ext cx="830673" cy="866616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096000" y="1909314"/>
            <a:ext cx="0" cy="4274615"/>
          </a:xfrm>
          <a:prstGeom prst="line">
            <a:avLst/>
          </a:prstGeom>
          <a:ln w="317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838200" y="1909313"/>
            <a:ext cx="4981755" cy="4267651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000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6372045" y="1916278"/>
            <a:ext cx="4981755" cy="4267651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000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637561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89150" y="6518319"/>
            <a:ext cx="927477" cy="2014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7278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 Contents_3 Lay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1D0D49B4-C906-4A34-A4E6-B99BA3B191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" y="430"/>
            <a:ext cx="12190476" cy="6857143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4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341465B-FCB4-45C5-981A-4EDDB83CCF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796" y="6511577"/>
            <a:ext cx="929301" cy="228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89847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1700" y="2077247"/>
            <a:ext cx="7251700" cy="2387600"/>
          </a:xfrm>
        </p:spPr>
        <p:txBody>
          <a:bodyPr anchor="b">
            <a:normAutofit/>
          </a:bodyPr>
          <a:lstStyle>
            <a:lvl1pPr algn="l">
              <a:defRPr sz="533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1700" y="4635062"/>
            <a:ext cx="7251700" cy="157762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01702" y="4510004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01702" y="1552560"/>
            <a:ext cx="1631703" cy="35447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261053">
            <a:off x="11102837" y="1426643"/>
            <a:ext cx="758889" cy="70336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52442">
            <a:off x="9122338" y="2531568"/>
            <a:ext cx="1897527" cy="205015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886435">
            <a:off x="9494099" y="559494"/>
            <a:ext cx="645539" cy="67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13616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542"/>
          <a:stretch/>
        </p:blipFill>
        <p:spPr>
          <a:xfrm>
            <a:off x="0" y="-114300"/>
            <a:ext cx="12192000" cy="47633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71700" y="1122363"/>
            <a:ext cx="8026400" cy="2296232"/>
          </a:xfrm>
        </p:spPr>
        <p:txBody>
          <a:bodyPr anchor="b">
            <a:normAutofit/>
          </a:bodyPr>
          <a:lstStyle>
            <a:lvl1pPr algn="ctr">
              <a:defRPr sz="533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71700" y="3773065"/>
            <a:ext cx="8026400" cy="1484737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91202" y="3555120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261053">
            <a:off x="238984" y="4601311"/>
            <a:ext cx="1416637" cy="131298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422105">
            <a:off x="10921999" y="1982523"/>
            <a:ext cx="546100" cy="56972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280150" y="620255"/>
            <a:ext cx="1631703" cy="354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6828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24931"/>
            <a:ext cx="9480832" cy="4288087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52502" y="3064474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500" y="1040384"/>
            <a:ext cx="1359420" cy="295322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952500" y="2079948"/>
            <a:ext cx="7980172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334" dirty="0">
                <a:solidFill>
                  <a:schemeClr val="bg1"/>
                </a:solidFill>
                <a:latin typeface="+mj-lt"/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12430318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7"/>
          <a:stretch/>
        </p:blipFill>
        <p:spPr>
          <a:xfrm>
            <a:off x="2" y="1"/>
            <a:ext cx="12040119" cy="68622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56076" y="584637"/>
            <a:ext cx="4829283" cy="1501777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556077" y="2266448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6556076" y="2508312"/>
            <a:ext cx="4829282" cy="3641256"/>
          </a:xfrm>
        </p:spPr>
        <p:txBody>
          <a:bodyPr/>
          <a:lstStyle>
            <a:lvl1pPr marL="495350" indent="-495350">
              <a:buFont typeface="+mj-lt"/>
              <a:buAutoNum type="arabicPeriod"/>
              <a:defRPr/>
            </a:lvl1pPr>
            <a:lvl2pPr marL="952596" indent="-495350">
              <a:buFont typeface="+mj-lt"/>
              <a:buAutoNum type="arabicPeriod"/>
              <a:defRPr/>
            </a:lvl2pPr>
            <a:lvl3pPr marL="1257426" indent="-342934">
              <a:buFont typeface="+mj-lt"/>
              <a:buAutoNum type="arabicPeriod"/>
              <a:defRPr/>
            </a:lvl3pPr>
            <a:lvl4pPr marL="1714672" indent="-342934">
              <a:buFont typeface="+mj-lt"/>
              <a:buAutoNum type="arabicPeriod"/>
              <a:defRPr/>
            </a:lvl4pPr>
            <a:lvl5pPr marL="2171918" indent="-342934">
              <a:buFont typeface="+mj-lt"/>
              <a:buAutoNum type="arabicPeriod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339"/>
          <a:stretch/>
        </p:blipFill>
        <p:spPr>
          <a:xfrm rot="20556438">
            <a:off x="-2581898" y="2413173"/>
            <a:ext cx="6505181" cy="410574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936718">
            <a:off x="3662530" y="1117757"/>
            <a:ext cx="1707219" cy="158230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1" y="6518320"/>
            <a:ext cx="927477" cy="201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1829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ase Study - Finan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084733"/>
            <a:ext cx="9144000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761118"/>
            <a:ext cx="9144000" cy="1496683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91202" y="3608069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89151" y="6518025"/>
            <a:ext cx="929301" cy="201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53149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ex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ounded Rectangle 6"/>
          <p:cNvSpPr/>
          <p:nvPr userDrawn="1"/>
        </p:nvSpPr>
        <p:spPr>
          <a:xfrm>
            <a:off x="838199" y="575096"/>
            <a:ext cx="6126193" cy="55094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>
            <a:noFill/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3152" y="575096"/>
            <a:ext cx="3932237" cy="1482305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423152" y="2329254"/>
            <a:ext cx="3932237" cy="3539735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46" indent="0">
              <a:buNone/>
              <a:defRPr sz="1400"/>
            </a:lvl2pPr>
            <a:lvl3pPr marL="914492" indent="0">
              <a:buNone/>
              <a:defRPr sz="1200"/>
            </a:lvl3pPr>
            <a:lvl4pPr marL="1371738" indent="0">
              <a:buNone/>
              <a:defRPr sz="1000"/>
            </a:lvl4pPr>
            <a:lvl5pPr marL="1828983" indent="0">
              <a:buNone/>
              <a:defRPr sz="1000"/>
            </a:lvl5pPr>
            <a:lvl6pPr marL="2286228" indent="0">
              <a:buNone/>
              <a:defRPr sz="1000"/>
            </a:lvl6pPr>
            <a:lvl7pPr marL="2743475" indent="0">
              <a:buNone/>
              <a:defRPr sz="1000"/>
            </a:lvl7pPr>
            <a:lvl8pPr marL="3200720" indent="0">
              <a:buNone/>
              <a:defRPr sz="1000"/>
            </a:lvl8pPr>
            <a:lvl9pPr marL="365796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423152" y="2187629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354051">
            <a:off x="6428841" y="5363370"/>
            <a:ext cx="935956" cy="101123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889151" y="6518025"/>
            <a:ext cx="929301" cy="201883"/>
          </a:xfrm>
          <a:prstGeom prst="rect">
            <a:avLst/>
          </a:prstGeom>
        </p:spPr>
      </p:pic>
      <p:sp>
        <p:nvSpPr>
          <p:cNvPr id="14" name="Content Placeholder 2"/>
          <p:cNvSpPr>
            <a:spLocks noGrp="1"/>
          </p:cNvSpPr>
          <p:nvPr>
            <p:ph idx="12"/>
          </p:nvPr>
        </p:nvSpPr>
        <p:spPr>
          <a:xfrm>
            <a:off x="1155866" y="987425"/>
            <a:ext cx="5430674" cy="479802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8875019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ex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ounded Rectangle 6"/>
          <p:cNvSpPr/>
          <p:nvPr userDrawn="1"/>
        </p:nvSpPr>
        <p:spPr>
          <a:xfrm>
            <a:off x="838201" y="575096"/>
            <a:ext cx="7054933" cy="5509403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>
            <a:noFill/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1106" y="575096"/>
            <a:ext cx="3074282" cy="1105122"/>
          </a:xfrm>
        </p:spPr>
        <p:txBody>
          <a:bodyPr anchor="b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81106" y="1947554"/>
            <a:ext cx="3074282" cy="3921435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46" indent="0">
              <a:buNone/>
              <a:defRPr sz="1400"/>
            </a:lvl2pPr>
            <a:lvl3pPr marL="914492" indent="0">
              <a:buNone/>
              <a:defRPr sz="1200"/>
            </a:lvl3pPr>
            <a:lvl4pPr marL="1371738" indent="0">
              <a:buNone/>
              <a:defRPr sz="1000"/>
            </a:lvl4pPr>
            <a:lvl5pPr marL="1828983" indent="0">
              <a:buNone/>
              <a:defRPr sz="1000"/>
            </a:lvl5pPr>
            <a:lvl6pPr marL="2286228" indent="0">
              <a:buNone/>
              <a:defRPr sz="1000"/>
            </a:lvl6pPr>
            <a:lvl7pPr marL="2743475" indent="0">
              <a:buNone/>
              <a:defRPr sz="1000"/>
            </a:lvl7pPr>
            <a:lvl8pPr marL="3200720" indent="0">
              <a:buNone/>
              <a:defRPr sz="1000"/>
            </a:lvl8pPr>
            <a:lvl9pPr marL="3657966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8281107" y="1815535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354051">
            <a:off x="376582" y="4915231"/>
            <a:ext cx="630266" cy="68096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889151" y="6518025"/>
            <a:ext cx="929301" cy="201883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1155866" y="926276"/>
            <a:ext cx="6357257" cy="485917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425247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omparison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38202" y="1690689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509065">
            <a:off x="178077" y="5642045"/>
            <a:ext cx="830673" cy="866616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096000" y="1909315"/>
            <a:ext cx="0" cy="4274615"/>
          </a:xfrm>
          <a:prstGeom prst="line">
            <a:avLst/>
          </a:prstGeom>
          <a:ln w="317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0821" y="1186305"/>
            <a:ext cx="867167" cy="803716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idx="13"/>
          </p:nvPr>
        </p:nvSpPr>
        <p:spPr>
          <a:xfrm>
            <a:off x="838201" y="1909313"/>
            <a:ext cx="5003787" cy="4283021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4"/>
          </p:nvPr>
        </p:nvSpPr>
        <p:spPr>
          <a:xfrm>
            <a:off x="6350014" y="1900909"/>
            <a:ext cx="5003787" cy="4283021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82899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055815"/>
            <a:ext cx="10515600" cy="4121149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400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3818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883648">
            <a:off x="330656" y="5725962"/>
            <a:ext cx="601110" cy="62711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0821" y="1186305"/>
            <a:ext cx="867167" cy="803716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idx="1"/>
          </p:nvPr>
        </p:nvSpPr>
        <p:spPr>
          <a:xfrm>
            <a:off x="838201" y="2183570"/>
            <a:ext cx="3282435" cy="375062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2"/>
          </p:nvPr>
        </p:nvSpPr>
        <p:spPr>
          <a:xfrm>
            <a:off x="4444544" y="2183570"/>
            <a:ext cx="3292675" cy="375062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13"/>
          </p:nvPr>
        </p:nvSpPr>
        <p:spPr>
          <a:xfrm>
            <a:off x="8061126" y="2181858"/>
            <a:ext cx="3292675" cy="375062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278702" y="2181858"/>
            <a:ext cx="0" cy="3750625"/>
          </a:xfrm>
          <a:prstGeom prst="line">
            <a:avLst/>
          </a:prstGeom>
          <a:ln w="317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7899879" y="2181858"/>
            <a:ext cx="0" cy="3750625"/>
          </a:xfrm>
          <a:prstGeom prst="line">
            <a:avLst/>
          </a:prstGeom>
          <a:ln w="317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1" y="6518025"/>
            <a:ext cx="929301" cy="201883"/>
          </a:xfrm>
          <a:prstGeom prst="rect">
            <a:avLst/>
          </a:prstGeom>
        </p:spPr>
      </p:pic>
      <p:cxnSp>
        <p:nvCxnSpPr>
          <p:cNvPr id="22" name="Straight Connector 21"/>
          <p:cNvCxnSpPr/>
          <p:nvPr userDrawn="1"/>
        </p:nvCxnSpPr>
        <p:spPr>
          <a:xfrm>
            <a:off x="2174619" y="1987127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5786082" y="1990634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9397544" y="1992081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018327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883648">
            <a:off x="11140122" y="3092136"/>
            <a:ext cx="601110" cy="62711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09" y="5182111"/>
            <a:ext cx="867167" cy="803716"/>
          </a:xfrm>
          <a:prstGeom prst="rect">
            <a:avLst/>
          </a:prstGeom>
        </p:spPr>
      </p:pic>
      <p:sp>
        <p:nvSpPr>
          <p:cNvPr id="19" name="Rounded Rectangle 18"/>
          <p:cNvSpPr/>
          <p:nvPr userDrawn="1"/>
        </p:nvSpPr>
        <p:spPr>
          <a:xfrm>
            <a:off x="838201" y="1943820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6" name="Rounded Rectangle 25"/>
          <p:cNvSpPr/>
          <p:nvPr userDrawn="1"/>
        </p:nvSpPr>
        <p:spPr>
          <a:xfrm>
            <a:off x="7993813" y="1943820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7" name="Rounded Rectangle 26"/>
          <p:cNvSpPr/>
          <p:nvPr userDrawn="1"/>
        </p:nvSpPr>
        <p:spPr>
          <a:xfrm>
            <a:off x="4416007" y="1943820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8" name="Content Placeholder 2"/>
          <p:cNvSpPr>
            <a:spLocks noGrp="1"/>
          </p:cNvSpPr>
          <p:nvPr>
            <p:ph idx="1"/>
          </p:nvPr>
        </p:nvSpPr>
        <p:spPr>
          <a:xfrm>
            <a:off x="1106804" y="2183570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2"/>
          </p:nvPr>
        </p:nvSpPr>
        <p:spPr>
          <a:xfrm>
            <a:off x="4668216" y="2183570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13"/>
          </p:nvPr>
        </p:nvSpPr>
        <p:spPr>
          <a:xfrm>
            <a:off x="8246022" y="2181858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1" y="6518025"/>
            <a:ext cx="929301" cy="201883"/>
          </a:xfrm>
          <a:prstGeom prst="rect">
            <a:avLst/>
          </a:prstGeom>
        </p:spPr>
      </p:pic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162204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_3 Lay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883648">
            <a:off x="11140122" y="3092136"/>
            <a:ext cx="601110" cy="62711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09" y="5182111"/>
            <a:ext cx="867167" cy="803716"/>
          </a:xfrm>
          <a:prstGeom prst="rect">
            <a:avLst/>
          </a:prstGeom>
        </p:spPr>
      </p:pic>
      <p:sp>
        <p:nvSpPr>
          <p:cNvPr id="19" name="Rounded Rectangle 18"/>
          <p:cNvSpPr/>
          <p:nvPr userDrawn="1"/>
        </p:nvSpPr>
        <p:spPr>
          <a:xfrm>
            <a:off x="838201" y="1943820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rgbClr val="7793FF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6" name="Rounded Rectangle 25"/>
          <p:cNvSpPr/>
          <p:nvPr userDrawn="1"/>
        </p:nvSpPr>
        <p:spPr>
          <a:xfrm>
            <a:off x="7993813" y="1943820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chemeClr val="accent3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7" name="Rounded Rectangle 26"/>
          <p:cNvSpPr/>
          <p:nvPr userDrawn="1"/>
        </p:nvSpPr>
        <p:spPr>
          <a:xfrm>
            <a:off x="4416007" y="1943820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chemeClr val="accent2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8" name="Content Placeholder 2"/>
          <p:cNvSpPr>
            <a:spLocks noGrp="1"/>
          </p:cNvSpPr>
          <p:nvPr>
            <p:ph idx="1"/>
          </p:nvPr>
        </p:nvSpPr>
        <p:spPr>
          <a:xfrm>
            <a:off x="1106804" y="2183570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2"/>
          </p:nvPr>
        </p:nvSpPr>
        <p:spPr>
          <a:xfrm>
            <a:off x="4668216" y="2183570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13"/>
          </p:nvPr>
        </p:nvSpPr>
        <p:spPr>
          <a:xfrm>
            <a:off x="8246022" y="2181858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1" y="6518025"/>
            <a:ext cx="929301" cy="201883"/>
          </a:xfrm>
          <a:prstGeom prst="rect">
            <a:avLst/>
          </a:prstGeom>
        </p:spPr>
      </p:pic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7440257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017266">
            <a:off x="702937" y="5000473"/>
            <a:ext cx="698888" cy="72912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Rounded Rectangle 11"/>
          <p:cNvSpPr/>
          <p:nvPr userDrawn="1"/>
        </p:nvSpPr>
        <p:spPr>
          <a:xfrm>
            <a:off x="1215038" y="575096"/>
            <a:ext cx="9734759" cy="5643163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>
            <a:noFill/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5654" y="1063353"/>
            <a:ext cx="758570" cy="703065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1" y="6518025"/>
            <a:ext cx="929301" cy="201883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2"/>
          </p:nvPr>
        </p:nvSpPr>
        <p:spPr>
          <a:xfrm>
            <a:off x="1633268" y="926277"/>
            <a:ext cx="8902460" cy="492430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5280213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017266">
            <a:off x="702937" y="5000473"/>
            <a:ext cx="698888" cy="72912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Rounded Rectangle 11"/>
          <p:cNvSpPr/>
          <p:nvPr userDrawn="1"/>
        </p:nvSpPr>
        <p:spPr>
          <a:xfrm>
            <a:off x="1215038" y="1369620"/>
            <a:ext cx="9734759" cy="4848637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>
            <a:noFill/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5654" y="1063353"/>
            <a:ext cx="758570" cy="703065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1" y="6518025"/>
            <a:ext cx="929301" cy="201883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667024" y="1231526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866401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1633268" y="1836934"/>
            <a:ext cx="8902460" cy="401364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44041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89151" y="6518025"/>
            <a:ext cx="929301" cy="201883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42725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89151" y="6518320"/>
            <a:ext cx="927477" cy="2014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13258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6686550" cy="2800807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786489"/>
            <a:ext cx="6686550" cy="130316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838201" y="4635568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260304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71" y="1709739"/>
            <a:ext cx="6686550" cy="2718209"/>
          </a:xfrm>
        </p:spPr>
        <p:txBody>
          <a:bodyPr anchor="b">
            <a:normAutofit/>
          </a:bodyPr>
          <a:lstStyle>
            <a:lvl1pPr algn="ctr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7171" y="4786489"/>
            <a:ext cx="6686550" cy="13031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1325" y="845030"/>
            <a:ext cx="1211963" cy="119601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2224" y="980450"/>
            <a:ext cx="2205519" cy="204413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66" y="3191319"/>
            <a:ext cx="2204166" cy="229953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2428" y="3742496"/>
            <a:ext cx="737929" cy="79728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174"/>
          <a:stretch/>
        </p:blipFill>
        <p:spPr>
          <a:xfrm>
            <a:off x="5139937" y="0"/>
            <a:ext cx="1302528" cy="87941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59"/>
          <a:stretch/>
        </p:blipFill>
        <p:spPr>
          <a:xfrm>
            <a:off x="-11502" y="183165"/>
            <a:ext cx="531609" cy="79728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8063" b="1"/>
          <a:stretch/>
        </p:blipFill>
        <p:spPr>
          <a:xfrm>
            <a:off x="9334680" y="5411490"/>
            <a:ext cx="600973" cy="627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05328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03345" y="4904015"/>
            <a:ext cx="1603783" cy="94877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017266">
            <a:off x="662136" y="4070876"/>
            <a:ext cx="1105342" cy="1153169"/>
          </a:xfrm>
          <a:prstGeom prst="rect">
            <a:avLst/>
          </a:prstGeom>
        </p:spPr>
      </p:pic>
      <p:sp>
        <p:nvSpPr>
          <p:cNvPr id="4" name="Rounded Rectangle 3"/>
          <p:cNvSpPr/>
          <p:nvPr userDrawn="1"/>
        </p:nvSpPr>
        <p:spPr>
          <a:xfrm>
            <a:off x="1524000" y="1122364"/>
            <a:ext cx="9144000" cy="4135437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>
            <a:noFill/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1163" y="1505529"/>
            <a:ext cx="8368147" cy="2826327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50000"/>
              </a:lnSpc>
              <a:buNone/>
              <a:defRPr sz="20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“Click to edit Master subtitle style”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ubtitle 2"/>
          <p:cNvSpPr txBox="1">
            <a:spLocks/>
          </p:cNvSpPr>
          <p:nvPr userDrawn="1"/>
        </p:nvSpPr>
        <p:spPr>
          <a:xfrm>
            <a:off x="1921163" y="4546624"/>
            <a:ext cx="8368147" cy="496407"/>
          </a:xfrm>
          <a:prstGeom prst="rect">
            <a:avLst/>
          </a:prstGeom>
        </p:spPr>
        <p:txBody>
          <a:bodyPr vert="horz" lIns="60960" tIns="30480" rIns="60960" bIns="30480" rtlCol="0" anchor="ctr">
            <a:normAutofit/>
          </a:bodyPr>
          <a:lstStyle>
            <a:lvl1pPr marL="0" indent="0" algn="ctr" defTabSz="1371600" rtl="0" eaLnBrk="1" latinLnBrk="0" hangingPunct="1">
              <a:lnSpc>
                <a:spcPct val="150000"/>
              </a:lnSpc>
              <a:spcBef>
                <a:spcPts val="1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indent="0" algn="ctr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Name </a:t>
            </a:r>
            <a:r>
              <a:rPr lang="en-US" sz="1600" b="1" dirty="0" err="1"/>
              <a:t>Namerson</a:t>
            </a:r>
            <a:r>
              <a:rPr lang="en-US" sz="1600" b="1" dirty="0"/>
              <a:t>,</a:t>
            </a:r>
            <a:r>
              <a:rPr lang="en-US" sz="1600" b="1" baseline="0" dirty="0"/>
              <a:t> </a:t>
            </a:r>
            <a:r>
              <a:rPr lang="en-US" sz="1600" b="1" dirty="0"/>
              <a:t>Company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667023" y="4452457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882" y="852586"/>
            <a:ext cx="1408981" cy="1305885"/>
          </a:xfrm>
          <a:prstGeom prst="rect">
            <a:avLst/>
          </a:prstGeom>
        </p:spPr>
      </p:pic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2483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Page_without cre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055815"/>
            <a:ext cx="10515600" cy="4121149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400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530775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Mai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8457" y="1085626"/>
            <a:ext cx="1447800" cy="14287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38201" y="1690689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838200" y="1909313"/>
            <a:ext cx="10515600" cy="4267651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000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509065">
            <a:off x="178076" y="5642045"/>
            <a:ext cx="830673" cy="86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71809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p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5945" y="1085626"/>
            <a:ext cx="1447800" cy="14287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38201" y="1690689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509065">
            <a:off x="178076" y="5642045"/>
            <a:ext cx="830673" cy="866616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096000" y="1909314"/>
            <a:ext cx="0" cy="4274615"/>
          </a:xfrm>
          <a:prstGeom prst="line">
            <a:avLst/>
          </a:prstGeom>
          <a:ln w="317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838200" y="1909313"/>
            <a:ext cx="4981755" cy="4267651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000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6372045" y="1916278"/>
            <a:ext cx="4981755" cy="4267651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000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091334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055815"/>
            <a:ext cx="10515600" cy="4121149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400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79336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Page_without cre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055815"/>
            <a:ext cx="10515600" cy="4121149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400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55668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85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703755"/>
            <a:ext cx="10515600" cy="4473210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400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88877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Page_02_without cre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85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703755"/>
            <a:ext cx="10515600" cy="4473210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400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860223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2045" y="1847233"/>
            <a:ext cx="498334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2045" y="2754489"/>
            <a:ext cx="4981755" cy="343517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096000" y="2055814"/>
            <a:ext cx="0" cy="4128115"/>
          </a:xfrm>
          <a:prstGeom prst="line">
            <a:avLst/>
          </a:prstGeom>
          <a:ln w="317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36613" y="1857376"/>
            <a:ext cx="498334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4"/>
          </p:nvPr>
        </p:nvSpPr>
        <p:spPr>
          <a:xfrm>
            <a:off x="836613" y="2764631"/>
            <a:ext cx="4981755" cy="343517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939558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2055814"/>
            <a:ext cx="4981755" cy="41211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96000" y="2055814"/>
            <a:ext cx="0" cy="4128115"/>
          </a:xfrm>
          <a:prstGeom prst="line">
            <a:avLst/>
          </a:prstGeom>
          <a:ln w="317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/>
          <p:cNvSpPr>
            <a:spLocks noGrp="1"/>
          </p:cNvSpPr>
          <p:nvPr>
            <p:ph sz="half" idx="12"/>
          </p:nvPr>
        </p:nvSpPr>
        <p:spPr>
          <a:xfrm>
            <a:off x="6372045" y="2055814"/>
            <a:ext cx="4981755" cy="41211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609583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017266">
            <a:off x="616606" y="3775220"/>
            <a:ext cx="1011193" cy="1054946"/>
          </a:xfrm>
          <a:prstGeom prst="rect">
            <a:avLst/>
          </a:prstGeom>
        </p:spPr>
      </p:pic>
      <p:sp>
        <p:nvSpPr>
          <p:cNvPr id="4" name="Rounded Rectangle 3"/>
          <p:cNvSpPr/>
          <p:nvPr userDrawn="1"/>
        </p:nvSpPr>
        <p:spPr>
          <a:xfrm>
            <a:off x="1405627" y="2279737"/>
            <a:ext cx="2682240" cy="268224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667023" y="1681546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7928" y="1174639"/>
            <a:ext cx="1408981" cy="1305885"/>
          </a:xfrm>
          <a:prstGeom prst="rect">
            <a:avLst/>
          </a:prstGeom>
        </p:spPr>
      </p:pic>
      <p:sp>
        <p:nvSpPr>
          <p:cNvPr id="14" name="Rounded Rectangle 13"/>
          <p:cNvSpPr/>
          <p:nvPr userDrawn="1"/>
        </p:nvSpPr>
        <p:spPr>
          <a:xfrm>
            <a:off x="4754880" y="2276832"/>
            <a:ext cx="2682240" cy="268224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5" name="Rounded Rectangle 14"/>
          <p:cNvSpPr/>
          <p:nvPr userDrawn="1"/>
        </p:nvSpPr>
        <p:spPr>
          <a:xfrm>
            <a:off x="8101627" y="2276832"/>
            <a:ext cx="2682240" cy="268224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>
            <a:normAutofit/>
          </a:bodyPr>
          <a:lstStyle>
            <a:lvl1pPr algn="ctr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412935" y="5178456"/>
            <a:ext cx="2682875" cy="745138"/>
          </a:xfrm>
        </p:spPr>
        <p:txBody>
          <a:bodyPr>
            <a:normAutofit/>
          </a:bodyPr>
          <a:lstStyle>
            <a:lvl1pPr marL="0" indent="0" algn="ctr">
              <a:buNone/>
              <a:defRPr sz="1733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754245" y="5178456"/>
            <a:ext cx="2682875" cy="745138"/>
          </a:xfrm>
        </p:spPr>
        <p:txBody>
          <a:bodyPr>
            <a:normAutofit/>
          </a:bodyPr>
          <a:lstStyle>
            <a:lvl1pPr marL="0" indent="0" algn="ctr">
              <a:buNone/>
              <a:defRPr sz="1733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8153401" y="5185966"/>
            <a:ext cx="2682875" cy="745138"/>
          </a:xfrm>
        </p:spPr>
        <p:txBody>
          <a:bodyPr>
            <a:normAutofit/>
          </a:bodyPr>
          <a:lstStyle>
            <a:lvl1pPr marL="0" indent="0" algn="ctr">
              <a:buNone/>
              <a:defRPr sz="1733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821120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017266">
            <a:off x="2306674" y="5156466"/>
            <a:ext cx="601110" cy="627119"/>
          </a:xfrm>
          <a:prstGeom prst="rect">
            <a:avLst/>
          </a:prstGeom>
        </p:spPr>
      </p:pic>
      <p:sp>
        <p:nvSpPr>
          <p:cNvPr id="4" name="Rounded Rectangle 3"/>
          <p:cNvSpPr/>
          <p:nvPr userDrawn="1"/>
        </p:nvSpPr>
        <p:spPr>
          <a:xfrm>
            <a:off x="2776976" y="2302312"/>
            <a:ext cx="1624463" cy="162446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667023" y="1681546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1025" y="2555679"/>
            <a:ext cx="867167" cy="803716"/>
          </a:xfrm>
          <a:prstGeom prst="rect">
            <a:avLst/>
          </a:prstGeom>
        </p:spPr>
      </p:pic>
      <p:sp>
        <p:nvSpPr>
          <p:cNvPr id="14" name="Rounded Rectangle 13"/>
          <p:cNvSpPr/>
          <p:nvPr userDrawn="1"/>
        </p:nvSpPr>
        <p:spPr>
          <a:xfrm>
            <a:off x="5283769" y="2276833"/>
            <a:ext cx="1624463" cy="162446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5" name="Rounded Rectangle 14"/>
          <p:cNvSpPr/>
          <p:nvPr userDrawn="1"/>
        </p:nvSpPr>
        <p:spPr>
          <a:xfrm>
            <a:off x="7790561" y="2276833"/>
            <a:ext cx="1624463" cy="162446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>
            <a:normAutofit/>
          </a:bodyPr>
          <a:lstStyle>
            <a:lvl1pPr algn="ctr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ounded Rectangle 11"/>
          <p:cNvSpPr/>
          <p:nvPr userDrawn="1"/>
        </p:nvSpPr>
        <p:spPr>
          <a:xfrm>
            <a:off x="2776976" y="4249865"/>
            <a:ext cx="1624463" cy="162446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7" name="Rounded Rectangle 16"/>
          <p:cNvSpPr/>
          <p:nvPr userDrawn="1"/>
        </p:nvSpPr>
        <p:spPr>
          <a:xfrm>
            <a:off x="5283769" y="4224386"/>
            <a:ext cx="1624463" cy="162446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8" name="Rounded Rectangle 17"/>
          <p:cNvSpPr/>
          <p:nvPr userDrawn="1"/>
        </p:nvSpPr>
        <p:spPr>
          <a:xfrm>
            <a:off x="7790561" y="4224386"/>
            <a:ext cx="1624463" cy="162446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88111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85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703755"/>
            <a:ext cx="10515600" cy="4473210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400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10738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664450">
            <a:off x="2288177" y="4550575"/>
            <a:ext cx="748321" cy="69356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23"/>
          <a:stretch/>
        </p:blipFill>
        <p:spPr>
          <a:xfrm>
            <a:off x="419100" y="830264"/>
            <a:ext cx="11353800" cy="6001857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>
            <a:normAutofit/>
          </a:bodyPr>
          <a:lstStyle>
            <a:lvl1pPr algn="ctr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824" y="2217792"/>
            <a:ext cx="838319" cy="810593"/>
          </a:xfrm>
          <a:prstGeom prst="rect">
            <a:avLst/>
          </a:prstGeom>
        </p:spPr>
      </p:pic>
      <p:sp>
        <p:nvSpPr>
          <p:cNvPr id="17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158857" y="2272637"/>
            <a:ext cx="5858623" cy="3294276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5667023" y="1681546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539328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664450">
            <a:off x="245621" y="4550575"/>
            <a:ext cx="748321" cy="69356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23"/>
          <a:stretch/>
        </p:blipFill>
        <p:spPr>
          <a:xfrm>
            <a:off x="-1623456" y="830264"/>
            <a:ext cx="11353800" cy="6001857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16301" y="2272637"/>
            <a:ext cx="5858623" cy="3294276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7655626" y="1962061"/>
            <a:ext cx="3699762" cy="390692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1057" y="1757663"/>
            <a:ext cx="747175" cy="722463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838201" y="1690689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311988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02426" y="885645"/>
            <a:ext cx="3932237" cy="1171755"/>
          </a:xfrm>
        </p:spPr>
        <p:txBody>
          <a:bodyPr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902426" y="2329253"/>
            <a:ext cx="3932237" cy="3539735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902427" y="2187629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64777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98556B0-6A92-41C8-A5CE-B01CAD257A53}" type="datetimeFigureOut">
              <a:rPr lang="en-US" smtClean="0"/>
              <a:t>12/2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0AA649-16D0-4587-832C-E90EB47E25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98419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775133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89150" y="6518319"/>
            <a:ext cx="927477" cy="2014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043671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7"/>
          <a:stretch/>
        </p:blipFill>
        <p:spPr>
          <a:xfrm>
            <a:off x="1" y="0"/>
            <a:ext cx="12040119" cy="68622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56075" y="584636"/>
            <a:ext cx="4829283" cy="1501777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556076" y="2266447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6556076" y="2508312"/>
            <a:ext cx="4829282" cy="3641256"/>
          </a:xfrm>
        </p:spPr>
        <p:txBody>
          <a:bodyPr/>
          <a:lstStyle>
            <a:lvl1pPr marL="495325" indent="-495325">
              <a:buFont typeface="+mj-lt"/>
              <a:buAutoNum type="arabicPeriod"/>
              <a:defRPr/>
            </a:lvl1pPr>
            <a:lvl2pPr marL="952548" indent="-495325">
              <a:buFont typeface="+mj-lt"/>
              <a:buAutoNum type="arabicPeriod"/>
              <a:defRPr/>
            </a:lvl2pPr>
            <a:lvl3pPr marL="1257363" indent="-342917">
              <a:buFont typeface="+mj-lt"/>
              <a:buAutoNum type="arabicPeriod"/>
              <a:defRPr/>
            </a:lvl3pPr>
            <a:lvl4pPr marL="1714586" indent="-342917">
              <a:buFont typeface="+mj-lt"/>
              <a:buAutoNum type="arabicPeriod"/>
              <a:defRPr/>
            </a:lvl4pPr>
            <a:lvl5pPr marL="2171809" indent="-342917">
              <a:buFont typeface="+mj-lt"/>
              <a:buAutoNum type="arabicPeriod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339"/>
          <a:stretch/>
        </p:blipFill>
        <p:spPr>
          <a:xfrm rot="20556438">
            <a:off x="-2581898" y="2413172"/>
            <a:ext cx="6505181" cy="410574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936718">
            <a:off x="3662529" y="1117756"/>
            <a:ext cx="1707219" cy="158230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0" y="6518319"/>
            <a:ext cx="927477" cy="201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42292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764166A-CBB4-6040-B2FB-70711AB8B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E802CF-983F-0140-BA1B-BDD0ACA78352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2A3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20/2023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32A3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857B94-2537-9444-9FF7-8918D37C0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algn="ctr" eaLnBrk="1" hangingPunct="1">
              <a:defRPr>
                <a:latin typeface="Gill Sans" charset="0"/>
                <a:ea typeface="Heiti SC Light" charset="0"/>
                <a:cs typeface="Heiti SC Light" charset="0"/>
                <a:sym typeface="Gill Sans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32A3D">
                  <a:tint val="75000"/>
                </a:srgbClr>
              </a:solidFill>
              <a:effectLst/>
              <a:uLnTx/>
              <a:uFillTx/>
              <a:latin typeface="Gill Sans" charset="0"/>
              <a:ea typeface="Heiti SC Light" charset="0"/>
              <a:sym typeface="Gill Sans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922DBD-B33C-7842-8C09-C44C1511A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5D52D9-FC18-8849-8EF9-4747C59D761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32A3D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32A3D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908763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24B6140-A013-C946-98CB-D5088BFCFB1A}"/>
              </a:ext>
            </a:extLst>
          </p:cNvPr>
          <p:cNvCxnSpPr/>
          <p:nvPr userDrawn="1"/>
        </p:nvCxnSpPr>
        <p:spPr>
          <a:xfrm>
            <a:off x="917224" y="1470025"/>
            <a:ext cx="1614311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823913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2">
            <a:extLst>
              <a:ext uri="{FF2B5EF4-FFF2-40B4-BE49-F238E27FC236}">
                <a16:creationId xmlns:a16="http://schemas.microsoft.com/office/drawing/2014/main" id="{ECDF791B-2971-444F-B77C-73B3412576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25AB75-3FF3-CC47-B354-D2336F400570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2A3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20/2023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32A3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CE30BD99-E1ED-7C4E-8AB2-C0C37A62CA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algn="ctr" eaLnBrk="1" hangingPunct="1">
              <a:defRPr>
                <a:latin typeface="Gill Sans" charset="0"/>
                <a:ea typeface="Heiti SC Light" charset="0"/>
                <a:cs typeface="Heiti SC Light" charset="0"/>
                <a:sym typeface="Gill Sans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32A3D">
                  <a:tint val="75000"/>
                </a:srgbClr>
              </a:solidFill>
              <a:effectLst/>
              <a:uLnTx/>
              <a:uFillTx/>
              <a:latin typeface="Gill Sans" charset="0"/>
              <a:ea typeface="Heiti SC Light" charset="0"/>
              <a:sym typeface="Gill Sans" charset="0"/>
            </a:endParaRP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BB150E9C-913C-3940-82F8-FF423DDDC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0FADF1-2982-FC41-B52F-243F12ED764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32A3D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32A3D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464824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46828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Page_02_without cre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85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703755"/>
            <a:ext cx="10515600" cy="4473210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400"/>
            </a:lvl1pPr>
            <a:lvl2pPr marL="457223" indent="0">
              <a:buNone/>
              <a:defRPr/>
            </a:lvl2pPr>
            <a:lvl3pPr marL="914446" indent="0">
              <a:buNone/>
              <a:defRPr/>
            </a:lvl3pPr>
            <a:lvl4pPr marL="1371669" indent="0">
              <a:buNone/>
              <a:defRPr/>
            </a:lvl4pPr>
            <a:lvl5pPr marL="182889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11491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1700" y="2077247"/>
            <a:ext cx="7251700" cy="2387600"/>
          </a:xfrm>
        </p:spPr>
        <p:txBody>
          <a:bodyPr anchor="b">
            <a:normAutofit/>
          </a:bodyPr>
          <a:lstStyle>
            <a:lvl1pPr algn="l">
              <a:defRPr sz="533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1700" y="4635062"/>
            <a:ext cx="7251700" cy="157762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01702" y="4510004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01702" y="1552560"/>
            <a:ext cx="1631703" cy="35447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261053">
            <a:off x="11102837" y="1426643"/>
            <a:ext cx="758889" cy="70336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52442">
            <a:off x="9122338" y="2531568"/>
            <a:ext cx="1897527" cy="205015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886435">
            <a:off x="9494099" y="559494"/>
            <a:ext cx="645539" cy="67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36544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542"/>
          <a:stretch/>
        </p:blipFill>
        <p:spPr>
          <a:xfrm>
            <a:off x="0" y="-114300"/>
            <a:ext cx="12192000" cy="47633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71700" y="1122363"/>
            <a:ext cx="8026400" cy="2296232"/>
          </a:xfrm>
        </p:spPr>
        <p:txBody>
          <a:bodyPr anchor="b">
            <a:normAutofit/>
          </a:bodyPr>
          <a:lstStyle>
            <a:lvl1pPr algn="ctr">
              <a:defRPr sz="533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71700" y="3773065"/>
            <a:ext cx="8026400" cy="1484737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91202" y="3555120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261053">
            <a:off x="238984" y="4601311"/>
            <a:ext cx="1416637" cy="131298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422105">
            <a:off x="10921999" y="1982523"/>
            <a:ext cx="546100" cy="56972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280150" y="620255"/>
            <a:ext cx="1631703" cy="354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97002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24931"/>
            <a:ext cx="9480832" cy="4288087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52502" y="3064474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2500" y="1040384"/>
            <a:ext cx="1359420" cy="295322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952500" y="2079948"/>
            <a:ext cx="7980172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334" dirty="0">
                <a:solidFill>
                  <a:schemeClr val="bg1"/>
                </a:solidFill>
                <a:latin typeface="+mj-lt"/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182457052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7"/>
          <a:stretch/>
        </p:blipFill>
        <p:spPr>
          <a:xfrm>
            <a:off x="2" y="1"/>
            <a:ext cx="12040119" cy="68622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56076" y="584637"/>
            <a:ext cx="4829283" cy="1501777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556077" y="2266448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6556076" y="2508312"/>
            <a:ext cx="4829282" cy="3641256"/>
          </a:xfrm>
        </p:spPr>
        <p:txBody>
          <a:bodyPr/>
          <a:lstStyle>
            <a:lvl1pPr marL="495350" indent="-495350">
              <a:buFont typeface="+mj-lt"/>
              <a:buAutoNum type="arabicPeriod"/>
              <a:defRPr/>
            </a:lvl1pPr>
            <a:lvl2pPr marL="952596" indent="-495350">
              <a:buFont typeface="+mj-lt"/>
              <a:buAutoNum type="arabicPeriod"/>
              <a:defRPr/>
            </a:lvl2pPr>
            <a:lvl3pPr marL="1257426" indent="-342934">
              <a:buFont typeface="+mj-lt"/>
              <a:buAutoNum type="arabicPeriod"/>
              <a:defRPr/>
            </a:lvl3pPr>
            <a:lvl4pPr marL="1714672" indent="-342934">
              <a:buFont typeface="+mj-lt"/>
              <a:buAutoNum type="arabicPeriod"/>
              <a:defRPr/>
            </a:lvl4pPr>
            <a:lvl5pPr marL="2171918" indent="-342934">
              <a:buFont typeface="+mj-lt"/>
              <a:buAutoNum type="arabicPeriod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339"/>
          <a:stretch/>
        </p:blipFill>
        <p:spPr>
          <a:xfrm rot="20556438">
            <a:off x="-2581898" y="2413173"/>
            <a:ext cx="6505181" cy="410574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936718">
            <a:off x="3662530" y="1117757"/>
            <a:ext cx="1707219" cy="158230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1" y="6518320"/>
            <a:ext cx="927477" cy="201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49562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ase Study - Finan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084733"/>
            <a:ext cx="9144000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761118"/>
            <a:ext cx="9144000" cy="1496683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46" indent="0" algn="ctr">
              <a:buNone/>
              <a:defRPr sz="2000"/>
            </a:lvl2pPr>
            <a:lvl3pPr marL="914492" indent="0" algn="ctr">
              <a:buNone/>
              <a:defRPr sz="1800"/>
            </a:lvl3pPr>
            <a:lvl4pPr marL="1371738" indent="0" algn="ctr">
              <a:buNone/>
              <a:defRPr sz="1600"/>
            </a:lvl4pPr>
            <a:lvl5pPr marL="1828983" indent="0" algn="ctr">
              <a:buNone/>
              <a:defRPr sz="1600"/>
            </a:lvl5pPr>
            <a:lvl6pPr marL="2286228" indent="0" algn="ctr">
              <a:buNone/>
              <a:defRPr sz="1600"/>
            </a:lvl6pPr>
            <a:lvl7pPr marL="2743475" indent="0" algn="ctr">
              <a:buNone/>
              <a:defRPr sz="1600"/>
            </a:lvl7pPr>
            <a:lvl8pPr marL="3200720" indent="0" algn="ctr">
              <a:buNone/>
              <a:defRPr sz="1600"/>
            </a:lvl8pPr>
            <a:lvl9pPr marL="365796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91202" y="3608069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89151" y="6518025"/>
            <a:ext cx="929301" cy="201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06983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ex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ounded Rectangle 6"/>
          <p:cNvSpPr/>
          <p:nvPr userDrawn="1"/>
        </p:nvSpPr>
        <p:spPr>
          <a:xfrm>
            <a:off x="838199" y="575096"/>
            <a:ext cx="6126193" cy="55094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>
            <a:noFill/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3152" y="575096"/>
            <a:ext cx="3932237" cy="1482305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423152" y="2329254"/>
            <a:ext cx="3932237" cy="3539735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46" indent="0">
              <a:buNone/>
              <a:defRPr sz="1400"/>
            </a:lvl2pPr>
            <a:lvl3pPr marL="914492" indent="0">
              <a:buNone/>
              <a:defRPr sz="1200"/>
            </a:lvl3pPr>
            <a:lvl4pPr marL="1371738" indent="0">
              <a:buNone/>
              <a:defRPr sz="1000"/>
            </a:lvl4pPr>
            <a:lvl5pPr marL="1828983" indent="0">
              <a:buNone/>
              <a:defRPr sz="1000"/>
            </a:lvl5pPr>
            <a:lvl6pPr marL="2286228" indent="0">
              <a:buNone/>
              <a:defRPr sz="1000"/>
            </a:lvl6pPr>
            <a:lvl7pPr marL="2743475" indent="0">
              <a:buNone/>
              <a:defRPr sz="1000"/>
            </a:lvl7pPr>
            <a:lvl8pPr marL="3200720" indent="0">
              <a:buNone/>
              <a:defRPr sz="1000"/>
            </a:lvl8pPr>
            <a:lvl9pPr marL="365796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423152" y="2187629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354051">
            <a:off x="6428841" y="5363370"/>
            <a:ext cx="935956" cy="101123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889151" y="6518025"/>
            <a:ext cx="929301" cy="201883"/>
          </a:xfrm>
          <a:prstGeom prst="rect">
            <a:avLst/>
          </a:prstGeom>
        </p:spPr>
      </p:pic>
      <p:sp>
        <p:nvSpPr>
          <p:cNvPr id="14" name="Content Placeholder 2"/>
          <p:cNvSpPr>
            <a:spLocks noGrp="1"/>
          </p:cNvSpPr>
          <p:nvPr>
            <p:ph idx="12"/>
          </p:nvPr>
        </p:nvSpPr>
        <p:spPr>
          <a:xfrm>
            <a:off x="1155866" y="987425"/>
            <a:ext cx="5430674" cy="479802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371780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ex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ounded Rectangle 6"/>
          <p:cNvSpPr/>
          <p:nvPr userDrawn="1"/>
        </p:nvSpPr>
        <p:spPr>
          <a:xfrm>
            <a:off x="838201" y="575096"/>
            <a:ext cx="7054933" cy="5509403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>
            <a:noFill/>
          </a:ln>
          <a:effectLst>
            <a:outerShdw blurRad="774700" dist="38100" dir="2700000" sx="101000" sy="101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1106" y="575096"/>
            <a:ext cx="3074282" cy="1105122"/>
          </a:xfrm>
        </p:spPr>
        <p:txBody>
          <a:bodyPr anchor="b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81106" y="1947554"/>
            <a:ext cx="3074282" cy="3921435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46" indent="0">
              <a:buNone/>
              <a:defRPr sz="1400"/>
            </a:lvl2pPr>
            <a:lvl3pPr marL="914492" indent="0">
              <a:buNone/>
              <a:defRPr sz="1200"/>
            </a:lvl3pPr>
            <a:lvl4pPr marL="1371738" indent="0">
              <a:buNone/>
              <a:defRPr sz="1000"/>
            </a:lvl4pPr>
            <a:lvl5pPr marL="1828983" indent="0">
              <a:buNone/>
              <a:defRPr sz="1000"/>
            </a:lvl5pPr>
            <a:lvl6pPr marL="2286228" indent="0">
              <a:buNone/>
              <a:defRPr sz="1000"/>
            </a:lvl6pPr>
            <a:lvl7pPr marL="2743475" indent="0">
              <a:buNone/>
              <a:defRPr sz="1000"/>
            </a:lvl7pPr>
            <a:lvl8pPr marL="3200720" indent="0">
              <a:buNone/>
              <a:defRPr sz="1000"/>
            </a:lvl8pPr>
            <a:lvl9pPr marL="3657966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8281107" y="1815535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354051">
            <a:off x="376582" y="4915231"/>
            <a:ext cx="630266" cy="68096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889151" y="6518025"/>
            <a:ext cx="929301" cy="201883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1155866" y="926276"/>
            <a:ext cx="6357257" cy="485917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047850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omparison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38202" y="1690689"/>
            <a:ext cx="85795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509065">
            <a:off x="178077" y="5642045"/>
            <a:ext cx="830673" cy="866616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096000" y="1909315"/>
            <a:ext cx="0" cy="4274615"/>
          </a:xfrm>
          <a:prstGeom prst="line">
            <a:avLst/>
          </a:prstGeom>
          <a:ln w="317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0821" y="1186305"/>
            <a:ext cx="867167" cy="803716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idx="13"/>
          </p:nvPr>
        </p:nvSpPr>
        <p:spPr>
          <a:xfrm>
            <a:off x="838201" y="1909313"/>
            <a:ext cx="5003787" cy="4283021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4"/>
          </p:nvPr>
        </p:nvSpPr>
        <p:spPr>
          <a:xfrm>
            <a:off x="6350014" y="1900909"/>
            <a:ext cx="5003787" cy="4283021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401149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883648">
            <a:off x="330656" y="5725962"/>
            <a:ext cx="601110" cy="62711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0821" y="1186305"/>
            <a:ext cx="867167" cy="803716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idx="1"/>
          </p:nvPr>
        </p:nvSpPr>
        <p:spPr>
          <a:xfrm>
            <a:off x="838201" y="2183570"/>
            <a:ext cx="3282435" cy="375062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2"/>
          </p:nvPr>
        </p:nvSpPr>
        <p:spPr>
          <a:xfrm>
            <a:off x="4444544" y="2183570"/>
            <a:ext cx="3292675" cy="375062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13"/>
          </p:nvPr>
        </p:nvSpPr>
        <p:spPr>
          <a:xfrm>
            <a:off x="8061126" y="2181858"/>
            <a:ext cx="3292675" cy="375062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278702" y="2181858"/>
            <a:ext cx="0" cy="3750625"/>
          </a:xfrm>
          <a:prstGeom prst="line">
            <a:avLst/>
          </a:prstGeom>
          <a:ln w="317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7899879" y="2181858"/>
            <a:ext cx="0" cy="3750625"/>
          </a:xfrm>
          <a:prstGeom prst="line">
            <a:avLst/>
          </a:prstGeom>
          <a:ln w="317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1" y="6518025"/>
            <a:ext cx="929301" cy="201883"/>
          </a:xfrm>
          <a:prstGeom prst="rect">
            <a:avLst/>
          </a:prstGeom>
        </p:spPr>
      </p:pic>
      <p:cxnSp>
        <p:nvCxnSpPr>
          <p:cNvPr id="22" name="Straight Connector 21"/>
          <p:cNvCxnSpPr/>
          <p:nvPr userDrawn="1"/>
        </p:nvCxnSpPr>
        <p:spPr>
          <a:xfrm>
            <a:off x="2174619" y="1987127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5786082" y="1990634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9397544" y="1992081"/>
            <a:ext cx="609599" cy="28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017372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883648">
            <a:off x="11140122" y="3092136"/>
            <a:ext cx="601110" cy="62711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09" y="5182111"/>
            <a:ext cx="867167" cy="803716"/>
          </a:xfrm>
          <a:prstGeom prst="rect">
            <a:avLst/>
          </a:prstGeom>
        </p:spPr>
      </p:pic>
      <p:sp>
        <p:nvSpPr>
          <p:cNvPr id="19" name="Rounded Rectangle 18"/>
          <p:cNvSpPr/>
          <p:nvPr userDrawn="1"/>
        </p:nvSpPr>
        <p:spPr>
          <a:xfrm>
            <a:off x="838201" y="1943820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6" name="Rounded Rectangle 25"/>
          <p:cNvSpPr/>
          <p:nvPr userDrawn="1"/>
        </p:nvSpPr>
        <p:spPr>
          <a:xfrm>
            <a:off x="7993813" y="1943820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7" name="Rounded Rectangle 26"/>
          <p:cNvSpPr/>
          <p:nvPr userDrawn="1"/>
        </p:nvSpPr>
        <p:spPr>
          <a:xfrm>
            <a:off x="4416007" y="1943820"/>
            <a:ext cx="3359989" cy="4232702"/>
          </a:xfrm>
          <a:prstGeom prst="roundRect">
            <a:avLst>
              <a:gd name="adj" fmla="val 8180"/>
            </a:avLst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774700" dist="38100" dir="2700000" sx="99000" sy="99000" algn="tl" rotWithShape="0">
              <a:schemeClr val="tx1"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8" name="Content Placeholder 2"/>
          <p:cNvSpPr>
            <a:spLocks noGrp="1"/>
          </p:cNvSpPr>
          <p:nvPr>
            <p:ph idx="1"/>
          </p:nvPr>
        </p:nvSpPr>
        <p:spPr>
          <a:xfrm>
            <a:off x="1106804" y="2183570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2"/>
          </p:nvPr>
        </p:nvSpPr>
        <p:spPr>
          <a:xfrm>
            <a:off x="4668216" y="2183570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13"/>
          </p:nvPr>
        </p:nvSpPr>
        <p:spPr>
          <a:xfrm>
            <a:off x="8246022" y="2181858"/>
            <a:ext cx="2855569" cy="37506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89151" y="6518025"/>
            <a:ext cx="929301" cy="201883"/>
          </a:xfrm>
          <a:prstGeom prst="rect">
            <a:avLst/>
          </a:prstGeom>
        </p:spPr>
      </p:pic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27263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1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5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53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6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87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oleObject" Target="../embeddings/oleObject5.bin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theme" Target="../theme/theme5.xml"/><Relationship Id="rId28" Type="http://schemas.openxmlformats.org/officeDocument/2006/relationships/image" Target="../media/image3.emf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image" Target="../media/image2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8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99.xml"/><Relationship Id="rId19" Type="http://schemas.openxmlformats.org/officeDocument/2006/relationships/oleObject" Target="../embeddings/oleObject7.bin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3" Type="http://schemas.openxmlformats.org/officeDocument/2006/relationships/slideLayout" Target="../slideLayouts/slideLayout108.xml"/><Relationship Id="rId21" Type="http://schemas.openxmlformats.org/officeDocument/2006/relationships/oleObject" Target="../embeddings/oleObject8.bin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tags" Target="../tags/tag9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image" Target="../media/image3.emf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15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593763D-D4E6-F5D6-8081-6A83ED9DD8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08813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06" imgH="403" progId="TCLayout.ActiveDocument.1">
                  <p:embed/>
                </p:oleObj>
              </mc:Choice>
              <mc:Fallback>
                <p:oleObj name="think-cell Slide" r:id="rId21" imgW="406" imgH="4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3"/>
          <a:srcRect l="8076" t="8773" r="51238" b="78066"/>
          <a:stretch/>
        </p:blipFill>
        <p:spPr>
          <a:xfrm>
            <a:off x="10196945" y="6270447"/>
            <a:ext cx="1995055" cy="59905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83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703" r:id="rId7"/>
    <p:sldLayoutId id="2147483704" r:id="rId8"/>
    <p:sldLayoutId id="2147483706" r:id="rId9"/>
    <p:sldLayoutId id="2147483667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93" r:id="rId17"/>
    <p:sldLayoutId id="2147483877" r:id="rId18"/>
  </p:sldLayoutIdLst>
  <p:hf hdr="0" ftr="0" dt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914446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9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BEF44A7-A974-1185-5891-AF7BDE4E0F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800572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06" imgH="403" progId="TCLayout.ActiveDocument.1">
                  <p:embed/>
                </p:oleObj>
              </mc:Choice>
              <mc:Fallback>
                <p:oleObj name="think-cell Slide" r:id="rId20" imgW="406" imgH="4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039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879" r:id="rId16"/>
    <p:sldLayoutId id="2147483880" r:id="rId17"/>
  </p:sldLayoutIdLst>
  <p:hf hdr="0" ftr="0" dt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914446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9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09C643B-08C7-5D0B-C0AF-3AE169E5D8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74818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06" imgH="403" progId="TCLayout.ActiveDocument.1">
                  <p:embed/>
                </p:oleObj>
              </mc:Choice>
              <mc:Fallback>
                <p:oleObj name="think-cell Slide" r:id="rId19" imgW="406" imgH="4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2100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5" r:id="rId16"/>
  </p:sldLayoutIdLst>
  <p:hf hdr="0" ftr="0" dt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914446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9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C15D316-1F88-D3F2-3045-239467FAFB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046279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06" imgH="403" progId="TCLayout.ActiveDocument.1">
                  <p:embed/>
                </p:oleObj>
              </mc:Choice>
              <mc:Fallback>
                <p:oleObj name="think-cell Slide" r:id="rId18" imgW="406" imgH="4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71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</p:sldLayoutIdLst>
  <p:hf hdr="0" ftr="0" dt="0"/>
  <p:txStyles>
    <p:titleStyle>
      <a:lvl1pPr algn="l" defTabSz="91449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23" indent="-228623" algn="l" defTabSz="914492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68" indent="-228623" algn="l" defTabSz="914492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114" indent="-228623" algn="l" defTabSz="914492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360" indent="-228623" algn="l" defTabSz="914492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606" indent="-228623" algn="l" defTabSz="914492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852" indent="-228623" algn="l" defTabSz="91449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98" indent="-228623" algn="l" defTabSz="91449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343" indent="-228623" algn="l" defTabSz="91449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588" indent="-228623" algn="l" defTabSz="91449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6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92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38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83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28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75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20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66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AF451E0-2D1C-A829-07AF-207E597C14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554133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06" imgH="403" progId="TCLayout.ActiveDocument.1">
                  <p:embed/>
                </p:oleObj>
              </mc:Choice>
              <mc:Fallback>
                <p:oleObj name="think-cell Slide" r:id="rId25" imgW="406" imgH="4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7"/>
          <a:srcRect l="8076" t="8773" r="51238" b="78066"/>
          <a:stretch/>
        </p:blipFill>
        <p:spPr>
          <a:xfrm>
            <a:off x="10196945" y="6270447"/>
            <a:ext cx="1995055" cy="59905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258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  <p:sldLayoutId id="2147483829" r:id="rId13"/>
    <p:sldLayoutId id="2147483830" r:id="rId14"/>
    <p:sldLayoutId id="2147483831" r:id="rId15"/>
    <p:sldLayoutId id="2147483832" r:id="rId16"/>
    <p:sldLayoutId id="2147483833" r:id="rId17"/>
    <p:sldLayoutId id="2147483834" r:id="rId18"/>
    <p:sldLayoutId id="2147483835" r:id="rId19"/>
    <p:sldLayoutId id="2147483836" r:id="rId20"/>
    <p:sldLayoutId id="2147483838" r:id="rId21"/>
    <p:sldLayoutId id="2147483839" r:id="rId22"/>
  </p:sldLayoutIdLst>
  <p:hf hdr="0" ftr="0" dt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914446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9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DCD173C-164D-95F4-8157-E1662CABAB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03536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1024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</p:sldLayoutIdLst>
  <p:hf hdr="0" ftr="0" dt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914446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9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A36269D-5AB1-0B92-9D87-B5E2CB7ACC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385926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06" imgH="403" progId="TCLayout.ActiveDocument.1">
                  <p:embed/>
                </p:oleObj>
              </mc:Choice>
              <mc:Fallback>
                <p:oleObj name="think-cell Slide" r:id="rId19" imgW="406" imgH="4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383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  <p:sldLayoutId id="2147483899" r:id="rId4"/>
    <p:sldLayoutId id="2147483900" r:id="rId5"/>
    <p:sldLayoutId id="2147483901" r:id="rId6"/>
    <p:sldLayoutId id="2147483902" r:id="rId7"/>
    <p:sldLayoutId id="2147483903" r:id="rId8"/>
    <p:sldLayoutId id="2147483904" r:id="rId9"/>
    <p:sldLayoutId id="2147483905" r:id="rId10"/>
    <p:sldLayoutId id="2147483906" r:id="rId11"/>
    <p:sldLayoutId id="2147483907" r:id="rId12"/>
    <p:sldLayoutId id="2147483908" r:id="rId13"/>
    <p:sldLayoutId id="2147483909" r:id="rId14"/>
    <p:sldLayoutId id="2147483910" r:id="rId15"/>
    <p:sldLayoutId id="2147483912" r:id="rId16"/>
  </p:sldLayoutIdLst>
  <p:hf hdr="0" ftr="0" dt="0"/>
  <p:txStyles>
    <p:titleStyle>
      <a:lvl1pPr algn="l" defTabSz="91449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23" indent="-228623" algn="l" defTabSz="914492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68" indent="-228623" algn="l" defTabSz="914492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114" indent="-228623" algn="l" defTabSz="914492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360" indent="-228623" algn="l" defTabSz="914492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606" indent="-228623" algn="l" defTabSz="914492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852" indent="-228623" algn="l" defTabSz="91449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98" indent="-228623" algn="l" defTabSz="91449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343" indent="-228623" algn="l" defTabSz="91449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588" indent="-228623" algn="l" defTabSz="91449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6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92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38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83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28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75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20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66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DABE56B-F805-8973-C76D-74FDAD2E7A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93664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06" imgH="403" progId="TCLayout.ActiveDocument.1">
                  <p:embed/>
                </p:oleObj>
              </mc:Choice>
              <mc:Fallback>
                <p:oleObj name="think-cell Slide" r:id="rId21" imgW="406" imgH="4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076" t="8773" r="51238" b="78066"/>
          <a:stretch/>
        </p:blipFill>
        <p:spPr>
          <a:xfrm>
            <a:off x="10196945" y="6270447"/>
            <a:ext cx="1995055" cy="59905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89150" y="6518024"/>
            <a:ext cx="929301" cy="201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832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  <p:sldLayoutId id="2147483925" r:id="rId12"/>
    <p:sldLayoutId id="2147483926" r:id="rId13"/>
    <p:sldLayoutId id="2147483927" r:id="rId14"/>
    <p:sldLayoutId id="2147483928" r:id="rId15"/>
    <p:sldLayoutId id="2147483929" r:id="rId16"/>
    <p:sldLayoutId id="2147483930" r:id="rId17"/>
    <p:sldLayoutId id="2147483931" r:id="rId18"/>
  </p:sldLayoutIdLst>
  <p:hf hdr="0" ftr="0" dt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914446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9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8DFD86E-7D59-1592-595C-59C1455A2F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3935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C75645CE-3E5D-4FCC-9F19-CA91FBA80A75}"/>
              </a:ext>
            </a:extLst>
          </p:cNvPr>
          <p:cNvSpPr/>
          <p:nvPr/>
        </p:nvSpPr>
        <p:spPr>
          <a:xfrm>
            <a:off x="4185823" y="2832559"/>
            <a:ext cx="3326227" cy="2747711"/>
          </a:xfrm>
          <a:prstGeom prst="rect">
            <a:avLst/>
          </a:prstGeom>
          <a:solidFill>
            <a:srgbClr val="0FDDA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8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274B889-92DD-4AE6-9C23-DA1098B3629A}"/>
              </a:ext>
            </a:extLst>
          </p:cNvPr>
          <p:cNvSpPr/>
          <p:nvPr/>
        </p:nvSpPr>
        <p:spPr>
          <a:xfrm>
            <a:off x="4353764" y="3052391"/>
            <a:ext cx="2978785" cy="192959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8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d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ADA5C6-6CEE-44DA-8CA0-E00C8A91F35D}"/>
              </a:ext>
            </a:extLst>
          </p:cNvPr>
          <p:cNvSpPr txBox="1"/>
          <p:nvPr/>
        </p:nvSpPr>
        <p:spPr>
          <a:xfrm>
            <a:off x="4512062" y="5076044"/>
            <a:ext cx="27392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88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OS + Runtime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1BBFDF6F-6195-43F1-BF87-2353E5C78515}"/>
              </a:ext>
            </a:extLst>
          </p:cNvPr>
          <p:cNvSpPr/>
          <p:nvPr/>
        </p:nvSpPr>
        <p:spPr>
          <a:xfrm>
            <a:off x="1917700" y="5097690"/>
            <a:ext cx="1821364" cy="77336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8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67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</a:rPr>
              <a:t>Data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1E4DF8DA-0948-4876-B6A2-FC46D454780D}"/>
              </a:ext>
            </a:extLst>
          </p:cNvPr>
          <p:cNvSpPr/>
          <p:nvPr/>
        </p:nvSpPr>
        <p:spPr>
          <a:xfrm>
            <a:off x="1915090" y="3347542"/>
            <a:ext cx="1791233" cy="789787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8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67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</a:rPr>
              <a:t>Params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23CE7989-45F3-4E01-A478-35518182971E}"/>
              </a:ext>
            </a:extLst>
          </p:cNvPr>
          <p:cNvSpPr/>
          <p:nvPr/>
        </p:nvSpPr>
        <p:spPr>
          <a:xfrm>
            <a:off x="1938124" y="4258995"/>
            <a:ext cx="1791233" cy="789787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8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67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</a:rPr>
              <a:t>Secrets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Flowchart: Magnetic Disk 27">
            <a:extLst>
              <a:ext uri="{FF2B5EF4-FFF2-40B4-BE49-F238E27FC236}">
                <a16:creationId xmlns:a16="http://schemas.microsoft.com/office/drawing/2014/main" id="{BE192A61-6CBB-45F2-B14C-107B3FD4726A}"/>
              </a:ext>
            </a:extLst>
          </p:cNvPr>
          <p:cNvSpPr/>
          <p:nvPr/>
        </p:nvSpPr>
        <p:spPr>
          <a:xfrm>
            <a:off x="10187248" y="4489957"/>
            <a:ext cx="1510615" cy="1550796"/>
          </a:xfrm>
          <a:prstGeom prst="flowChartMagneticDisk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8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tifacts, Datasets &amp; Models</a:t>
            </a: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3747BFB7-2361-445F-9268-C5A866D96897}"/>
              </a:ext>
            </a:extLst>
          </p:cNvPr>
          <p:cNvSpPr/>
          <p:nvPr/>
        </p:nvSpPr>
        <p:spPr>
          <a:xfrm>
            <a:off x="8511079" y="4878672"/>
            <a:ext cx="1432448" cy="77336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8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67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</a:rPr>
              <a:t>data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0D527F4F-EFEC-4072-A201-4823852660F3}"/>
              </a:ext>
            </a:extLst>
          </p:cNvPr>
          <p:cNvSpPr/>
          <p:nvPr/>
        </p:nvSpPr>
        <p:spPr>
          <a:xfrm>
            <a:off x="8478338" y="3766191"/>
            <a:ext cx="1432448" cy="77336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8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67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</a:rPr>
              <a:t>Ops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78210859-481C-46BE-A401-A8A818AA2825}"/>
              </a:ext>
            </a:extLst>
          </p:cNvPr>
          <p:cNvSpPr/>
          <p:nvPr/>
        </p:nvSpPr>
        <p:spPr>
          <a:xfrm>
            <a:off x="8488045" y="2702139"/>
            <a:ext cx="1432448" cy="724937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8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67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</a:rPr>
              <a:t>Results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2BF0F4C-6F6F-40BD-BD32-4C0659157B5F}"/>
              </a:ext>
            </a:extLst>
          </p:cNvPr>
          <p:cNvSpPr/>
          <p:nvPr/>
        </p:nvSpPr>
        <p:spPr>
          <a:xfrm>
            <a:off x="1103276" y="1904609"/>
            <a:ext cx="25450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88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87FB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Input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787FB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82A40657-E1D3-4D24-8BDB-7CB3AC73D749}"/>
              </a:ext>
            </a:extLst>
          </p:cNvPr>
          <p:cNvSpPr/>
          <p:nvPr/>
        </p:nvSpPr>
        <p:spPr>
          <a:xfrm>
            <a:off x="8088306" y="1942219"/>
            <a:ext cx="185522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88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87FB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Output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787FB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98DB047-954C-40FD-AC49-5326A6CDFC9E}"/>
              </a:ext>
            </a:extLst>
          </p:cNvPr>
          <p:cNvSpPr/>
          <p:nvPr/>
        </p:nvSpPr>
        <p:spPr>
          <a:xfrm>
            <a:off x="4035601" y="1682002"/>
            <a:ext cx="362666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88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MLRu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 Functions</a:t>
            </a:r>
          </a:p>
          <a:p>
            <a:pPr marL="0" marR="0" lvl="0" indent="0" algn="ctr" defTabSz="12188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Auto deploy, scale &amp; track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9884A02-E207-4032-9BF8-081E4A253223}"/>
              </a:ext>
            </a:extLst>
          </p:cNvPr>
          <p:cNvSpPr/>
          <p:nvPr/>
        </p:nvSpPr>
        <p:spPr>
          <a:xfrm>
            <a:off x="4661157" y="3314472"/>
            <a:ext cx="2431851" cy="1132007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12188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d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A67C02E-A340-4C97-BDDE-D2BDD5F0AE5F}"/>
              </a:ext>
            </a:extLst>
          </p:cNvPr>
          <p:cNvSpPr txBox="1"/>
          <p:nvPr/>
        </p:nvSpPr>
        <p:spPr>
          <a:xfrm>
            <a:off x="4379791" y="4539557"/>
            <a:ext cx="29212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kages / Frameworks</a:t>
            </a:r>
            <a:endParaRPr kumimoji="0" lang="LID4096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019BAEA-EB5C-4DE1-BF97-8E60B6E009A4}"/>
              </a:ext>
            </a:extLst>
          </p:cNvPr>
          <p:cNvSpPr/>
          <p:nvPr/>
        </p:nvSpPr>
        <p:spPr>
          <a:xfrm>
            <a:off x="4063818" y="5810066"/>
            <a:ext cx="3626669" cy="66678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8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ources (K8s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Flowchart: Magnetic Disk 13">
            <a:extLst>
              <a:ext uri="{FF2B5EF4-FFF2-40B4-BE49-F238E27FC236}">
                <a16:creationId xmlns:a16="http://schemas.microsoft.com/office/drawing/2014/main" id="{D00F9EF1-B023-497E-B717-2D8CFDC27DF6}"/>
              </a:ext>
            </a:extLst>
          </p:cNvPr>
          <p:cNvSpPr/>
          <p:nvPr/>
        </p:nvSpPr>
        <p:spPr>
          <a:xfrm>
            <a:off x="278949" y="4799662"/>
            <a:ext cx="1479674" cy="1561215"/>
          </a:xfrm>
          <a:prstGeom prst="flowChartMagneticDisk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8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12188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/ Feature stores</a:t>
            </a: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345E9656-72B2-4015-8E91-EF5ED583232D}"/>
              </a:ext>
            </a:extLst>
          </p:cNvPr>
          <p:cNvSpPr/>
          <p:nvPr/>
        </p:nvSpPr>
        <p:spPr>
          <a:xfrm>
            <a:off x="1938124" y="2496532"/>
            <a:ext cx="1726873" cy="72493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8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67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</a:rPr>
              <a:t>Tags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13143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GUAZIO Light Slides">
  <a:themeElements>
    <a:clrScheme name="IGUAZIO Color Scheme">
      <a:dk1>
        <a:srgbClr val="232A3D"/>
      </a:dk1>
      <a:lt1>
        <a:sysClr val="window" lastClr="FFFFFF"/>
      </a:lt1>
      <a:dk2>
        <a:srgbClr val="4F496F"/>
      </a:dk2>
      <a:lt2>
        <a:srgbClr val="FFFFFF"/>
      </a:lt2>
      <a:accent1>
        <a:srgbClr val="0FDDAF"/>
      </a:accent1>
      <a:accent2>
        <a:srgbClr val="FFD077"/>
      </a:accent2>
      <a:accent3>
        <a:srgbClr val="FF75BF"/>
      </a:accent3>
      <a:accent4>
        <a:srgbClr val="0FDDAF"/>
      </a:accent4>
      <a:accent5>
        <a:srgbClr val="FFD077"/>
      </a:accent5>
      <a:accent6>
        <a:srgbClr val="FF75BF"/>
      </a:accent6>
      <a:hlink>
        <a:srgbClr val="484467"/>
      </a:hlink>
      <a:folHlink>
        <a:srgbClr val="0FDDAF"/>
      </a:folHlink>
    </a:clrScheme>
    <a:fontScheme name="IGUAZIO System Fonts">
      <a:majorFont>
        <a:latin typeface="tahoma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IGUAZIO dark slides">
  <a:themeElements>
    <a:clrScheme name="IGUAZIO Color Scheme">
      <a:dk1>
        <a:srgbClr val="232A3D"/>
      </a:dk1>
      <a:lt1>
        <a:sysClr val="window" lastClr="FFFFFF"/>
      </a:lt1>
      <a:dk2>
        <a:srgbClr val="4F496F"/>
      </a:dk2>
      <a:lt2>
        <a:srgbClr val="FFFFFF"/>
      </a:lt2>
      <a:accent1>
        <a:srgbClr val="0FDDAF"/>
      </a:accent1>
      <a:accent2>
        <a:srgbClr val="FFD077"/>
      </a:accent2>
      <a:accent3>
        <a:srgbClr val="FF75BF"/>
      </a:accent3>
      <a:accent4>
        <a:srgbClr val="0FDDAF"/>
      </a:accent4>
      <a:accent5>
        <a:srgbClr val="FFD077"/>
      </a:accent5>
      <a:accent6>
        <a:srgbClr val="FF75BF"/>
      </a:accent6>
      <a:hlink>
        <a:srgbClr val="484467"/>
      </a:hlink>
      <a:folHlink>
        <a:srgbClr val="0FDDAF"/>
      </a:folHlink>
    </a:clrScheme>
    <a:fontScheme name="IGUAZIO System Fonts">
      <a:majorFont>
        <a:latin typeface="tahoma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IGUAZIO dark slides">
  <a:themeElements>
    <a:clrScheme name="IGUAZIO Color Scheme">
      <a:dk1>
        <a:srgbClr val="232A3D"/>
      </a:dk1>
      <a:lt1>
        <a:sysClr val="window" lastClr="FFFFFF"/>
      </a:lt1>
      <a:dk2>
        <a:srgbClr val="4F496F"/>
      </a:dk2>
      <a:lt2>
        <a:srgbClr val="FFFFFF"/>
      </a:lt2>
      <a:accent1>
        <a:srgbClr val="0FDDAF"/>
      </a:accent1>
      <a:accent2>
        <a:srgbClr val="FFD077"/>
      </a:accent2>
      <a:accent3>
        <a:srgbClr val="FF75BF"/>
      </a:accent3>
      <a:accent4>
        <a:srgbClr val="0FDDAF"/>
      </a:accent4>
      <a:accent5>
        <a:srgbClr val="FFD077"/>
      </a:accent5>
      <a:accent6>
        <a:srgbClr val="FF75BF"/>
      </a:accent6>
      <a:hlink>
        <a:srgbClr val="484467"/>
      </a:hlink>
      <a:folHlink>
        <a:srgbClr val="0FDDAF"/>
      </a:folHlink>
    </a:clrScheme>
    <a:fontScheme name="IGUAZIO System Fonts">
      <a:majorFont>
        <a:latin typeface="tahoma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IGUAZIO dark slides">
  <a:themeElements>
    <a:clrScheme name="IGUAZIO Color Scheme">
      <a:dk1>
        <a:srgbClr val="232A3D"/>
      </a:dk1>
      <a:lt1>
        <a:sysClr val="window" lastClr="FFFFFF"/>
      </a:lt1>
      <a:dk2>
        <a:srgbClr val="4F496F"/>
      </a:dk2>
      <a:lt2>
        <a:srgbClr val="FFFFFF"/>
      </a:lt2>
      <a:accent1>
        <a:srgbClr val="0FDDAF"/>
      </a:accent1>
      <a:accent2>
        <a:srgbClr val="FFD077"/>
      </a:accent2>
      <a:accent3>
        <a:srgbClr val="FF75BF"/>
      </a:accent3>
      <a:accent4>
        <a:srgbClr val="0FDDAF"/>
      </a:accent4>
      <a:accent5>
        <a:srgbClr val="FFD077"/>
      </a:accent5>
      <a:accent6>
        <a:srgbClr val="FF75BF"/>
      </a:accent6>
      <a:hlink>
        <a:srgbClr val="484467"/>
      </a:hlink>
      <a:folHlink>
        <a:srgbClr val="0FDDAF"/>
      </a:folHlink>
    </a:clrScheme>
    <a:fontScheme name="IGUAZIO System Fonts">
      <a:majorFont>
        <a:latin typeface="tahoma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IGUAZIO Light Slides">
  <a:themeElements>
    <a:clrScheme name="IGUAZIO Color Scheme">
      <a:dk1>
        <a:srgbClr val="232A3D"/>
      </a:dk1>
      <a:lt1>
        <a:sysClr val="window" lastClr="FFFFFF"/>
      </a:lt1>
      <a:dk2>
        <a:srgbClr val="4F496F"/>
      </a:dk2>
      <a:lt2>
        <a:srgbClr val="FFFFFF"/>
      </a:lt2>
      <a:accent1>
        <a:srgbClr val="0FDDAF"/>
      </a:accent1>
      <a:accent2>
        <a:srgbClr val="FFD077"/>
      </a:accent2>
      <a:accent3>
        <a:srgbClr val="FF75BF"/>
      </a:accent3>
      <a:accent4>
        <a:srgbClr val="0FDDAF"/>
      </a:accent4>
      <a:accent5>
        <a:srgbClr val="FFD077"/>
      </a:accent5>
      <a:accent6>
        <a:srgbClr val="FF75BF"/>
      </a:accent6>
      <a:hlink>
        <a:srgbClr val="484467"/>
      </a:hlink>
      <a:folHlink>
        <a:srgbClr val="0FDDAF"/>
      </a:folHlink>
    </a:clrScheme>
    <a:fontScheme name="IGUAZIO System Fonts">
      <a:majorFont>
        <a:latin typeface="tahoma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IGUAZIO Light Slides">
  <a:themeElements>
    <a:clrScheme name="IGUAZIO Color Scheme">
      <a:dk1>
        <a:srgbClr val="232A3D"/>
      </a:dk1>
      <a:lt1>
        <a:sysClr val="window" lastClr="FFFFFF"/>
      </a:lt1>
      <a:dk2>
        <a:srgbClr val="4F496F"/>
      </a:dk2>
      <a:lt2>
        <a:srgbClr val="FFFFFF"/>
      </a:lt2>
      <a:accent1>
        <a:srgbClr val="0FDDAF"/>
      </a:accent1>
      <a:accent2>
        <a:srgbClr val="FFD077"/>
      </a:accent2>
      <a:accent3>
        <a:srgbClr val="FF75BF"/>
      </a:accent3>
      <a:accent4>
        <a:srgbClr val="0FDDAF"/>
      </a:accent4>
      <a:accent5>
        <a:srgbClr val="FFD077"/>
      </a:accent5>
      <a:accent6>
        <a:srgbClr val="FF75BF"/>
      </a:accent6>
      <a:hlink>
        <a:srgbClr val="484467"/>
      </a:hlink>
      <a:folHlink>
        <a:srgbClr val="0FDDAF"/>
      </a:folHlink>
    </a:clrScheme>
    <a:fontScheme name="IGUAZIO System Fonts">
      <a:majorFont>
        <a:latin typeface="tahoma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guazio PPT Template.pptx" id="{03E54FD3-27D2-427C-9C28-85499CD6A5BB}" vid="{EFD28E4A-4D83-4CF7-8AC9-22DE12EBDA57}"/>
    </a:ext>
  </a:extLst>
</a:theme>
</file>

<file path=ppt/theme/theme7.xml><?xml version="1.0" encoding="utf-8"?>
<a:theme xmlns:a="http://schemas.openxmlformats.org/drawingml/2006/main" name="3_IGUAZIO dark slides">
  <a:themeElements>
    <a:clrScheme name="IGUAZIO Color Scheme">
      <a:dk1>
        <a:srgbClr val="232A3D"/>
      </a:dk1>
      <a:lt1>
        <a:sysClr val="window" lastClr="FFFFFF"/>
      </a:lt1>
      <a:dk2>
        <a:srgbClr val="4F496F"/>
      </a:dk2>
      <a:lt2>
        <a:srgbClr val="FFFFFF"/>
      </a:lt2>
      <a:accent1>
        <a:srgbClr val="0FDDAF"/>
      </a:accent1>
      <a:accent2>
        <a:srgbClr val="FFD077"/>
      </a:accent2>
      <a:accent3>
        <a:srgbClr val="FF75BF"/>
      </a:accent3>
      <a:accent4>
        <a:srgbClr val="0FDDAF"/>
      </a:accent4>
      <a:accent5>
        <a:srgbClr val="FFD077"/>
      </a:accent5>
      <a:accent6>
        <a:srgbClr val="FF75BF"/>
      </a:accent6>
      <a:hlink>
        <a:srgbClr val="484467"/>
      </a:hlink>
      <a:folHlink>
        <a:srgbClr val="0FDDAF"/>
      </a:folHlink>
    </a:clrScheme>
    <a:fontScheme name="IGUAZIO System Fonts">
      <a:majorFont>
        <a:latin typeface="tahoma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IGUAZIO Light Slides">
  <a:themeElements>
    <a:clrScheme name="IGUAZIO Color Scheme">
      <a:dk1>
        <a:srgbClr val="232A3D"/>
      </a:dk1>
      <a:lt1>
        <a:sysClr val="window" lastClr="FFFFFF"/>
      </a:lt1>
      <a:dk2>
        <a:srgbClr val="4F496F"/>
      </a:dk2>
      <a:lt2>
        <a:srgbClr val="FFFFFF"/>
      </a:lt2>
      <a:accent1>
        <a:srgbClr val="0FDDAF"/>
      </a:accent1>
      <a:accent2>
        <a:srgbClr val="FFD077"/>
      </a:accent2>
      <a:accent3>
        <a:srgbClr val="FF75BF"/>
      </a:accent3>
      <a:accent4>
        <a:srgbClr val="0FDDAF"/>
      </a:accent4>
      <a:accent5>
        <a:srgbClr val="FFD077"/>
      </a:accent5>
      <a:accent6>
        <a:srgbClr val="FF75BF"/>
      </a:accent6>
      <a:hlink>
        <a:srgbClr val="484467"/>
      </a:hlink>
      <a:folHlink>
        <a:srgbClr val="0FDDAF"/>
      </a:folHlink>
    </a:clrScheme>
    <a:fontScheme name="IGUAZIO System Fonts">
      <a:majorFont>
        <a:latin typeface="tahoma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5007</TotalTime>
  <Words>39</Words>
  <Application>Microsoft Office PowerPoint</Application>
  <PresentationFormat>Widescreen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7" baseType="lpstr">
      <vt:lpstr>Arial</vt:lpstr>
      <vt:lpstr>Calibri</vt:lpstr>
      <vt:lpstr>tahoma bold</vt:lpstr>
      <vt:lpstr>Courier New</vt:lpstr>
      <vt:lpstr>Wingdings</vt:lpstr>
      <vt:lpstr>Gill Sans</vt:lpstr>
      <vt:lpstr>Trebuchet MS</vt:lpstr>
      <vt:lpstr>IGUAZIO Light Slides</vt:lpstr>
      <vt:lpstr>IGUAZIO dark slides</vt:lpstr>
      <vt:lpstr>1_IGUAZIO dark slides</vt:lpstr>
      <vt:lpstr>2_IGUAZIO dark slides</vt:lpstr>
      <vt:lpstr>1_IGUAZIO Light Slides</vt:lpstr>
      <vt:lpstr>2_IGUAZIO Light Slides</vt:lpstr>
      <vt:lpstr>3_IGUAZIO dark slides</vt:lpstr>
      <vt:lpstr>3_IGUAZIO Light Slides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 Repository</dc:title>
  <dc:creator>Geva-Precision</dc:creator>
  <cp:lastModifiedBy>Jill Landau</cp:lastModifiedBy>
  <cp:revision>489</cp:revision>
  <dcterms:created xsi:type="dcterms:W3CDTF">2019-11-14T15:04:51Z</dcterms:created>
  <dcterms:modified xsi:type="dcterms:W3CDTF">2023-12-20T09:12:30Z</dcterms:modified>
</cp:coreProperties>
</file>